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  <p:sldMasterId id="2147483673" r:id="rId2"/>
    <p:sldMasterId id="2147483675" r:id="rId3"/>
  </p:sldMasterIdLst>
  <p:notesMasterIdLst>
    <p:notesMasterId r:id="rId15"/>
  </p:notesMasterIdLst>
  <p:sldIdLst>
    <p:sldId id="256" r:id="rId4"/>
    <p:sldId id="273" r:id="rId5"/>
    <p:sldId id="267" r:id="rId6"/>
    <p:sldId id="2329" r:id="rId7"/>
    <p:sldId id="259" r:id="rId8"/>
    <p:sldId id="29306" r:id="rId9"/>
    <p:sldId id="29205" r:id="rId10"/>
    <p:sldId id="260" r:id="rId11"/>
    <p:sldId id="271" r:id="rId12"/>
    <p:sldId id="272" r:id="rId13"/>
    <p:sldId id="16083" r:id="rId14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B957539-B03B-A186-8EA4-76A0E72D1145}" name="Daca, Adriana E." initials="" userId="S::adaca@caltech.edu::feaa0db6-f331-46c9-a019-3bbd1286ca52" providerId="AD"/>
  <p188:author id="{A8A55CDF-7AF0-9D5D-9B13-85AEB1B8426B}" name="bjorn.davidsson@jpl.nasa.gov" initials="bj" userId="S::urn:spo:guest#bjorn.davidsson@jpl.nasa.gov::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EFEFE"/>
    <a:srgbClr val="BEBEBE"/>
    <a:srgbClr val="F0F0F0"/>
    <a:srgbClr val="FF6E1D"/>
    <a:srgbClr val="4472C4"/>
    <a:srgbClr val="28ABE3"/>
    <a:srgbClr val="FF60FE"/>
    <a:srgbClr val="FF6B0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693"/>
    <p:restoredTop sz="92993"/>
  </p:normalViewPr>
  <p:slideViewPr>
    <p:cSldViewPr snapToGrid="0">
      <p:cViewPr varScale="1">
        <p:scale>
          <a:sx n="158" d="100"/>
          <a:sy n="158" d="100"/>
        </p:scale>
        <p:origin x="1112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20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BEEB4B-2E67-1B42-9C9D-C07EDCAEB299}" type="datetimeFigureOut">
              <a:rPr lang="en-US" smtClean="0"/>
              <a:t>4/25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6A9923-1A9E-0C44-89F7-3D42F07CCE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29363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i I’m Lorraine Fesq, and today I’ll be talking about an Apophis mission that we’re working on at Caltech and JPL. 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6A9923-1A9E-0C44-89F7-3D42F07CCEE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42181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- So, why do we want to go to Apophis? </a:t>
            </a:r>
          </a:p>
          <a:p>
            <a:r>
              <a:rPr lang="en-US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- As most of you probably know, the asteroid Apophis will fly by the Earth within GEO distance in 2029. </a:t>
            </a:r>
          </a:p>
          <a:p>
            <a:r>
              <a:rPr lang="en-US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- This will be a global event and offers a rare opportunity to observe the reaction of a small body to tidal force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F6CCF4-B3A5-004D-B911-59A28922C2E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34567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altech is leading a first-of-its-kind mission to escort Apophis through Earth Closest Approach or ECA, identifying surface changes and mapping its interior structur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You may have heard this mission referred to as “DROID” in the past. But now that Caltech is leading it, we’re calling it the Caltech Mission to Apophis. 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It’s a rendezvous mission with a spacecraft constellation consisting of a mothership and 2 CubeSats equipped with radar 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6A9923-1A9E-0C44-89F7-3D42F07CCEE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32267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 first overarching goal for this mission is to understand the interior structure of a rubble pile asteroid, and implications for its formation, evolution, and response to a deflection attempt. 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we want to determine the shape, bulk density and bulk porosity of </a:t>
            </a:r>
            <a:r>
              <a:rPr lang="en-US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pophis</a:t>
            </a:r>
            <a:r>
              <a:rPr lang="en-US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 This will help constrain its interior structure and mechanical properties. We would also like to determine the internal block size distribution, composition, porosity, and geometric arrangement of blocks and voids. 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 second goal is to understand how close planetary flybys affect asteroids - including resurfacing and implications for response to a deflection attempt. 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bserving material movement during ECA will help us constrain the cohesive strength. We also want to observe spin state changes as a result of ECA, and take a cool photo of </a:t>
            </a:r>
            <a:r>
              <a:rPr lang="en-US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pophis</a:t>
            </a:r>
            <a:r>
              <a:rPr lang="en-US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with earth in the background, which will be great for public outreach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6A9923-1A9E-0C44-89F7-3D42F07CCEE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61159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6A9923-1A9E-0C44-89F7-3D42F07CCEE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05461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485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l" defTabSz="94850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In summary, bistatic radar would provide a unique data set, making our mission complementary to both RAMSES and APEX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We’re currently funded for Phase A and we’re working on long term funding. 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ank you, and I look forward to answering any questions! 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6A9923-1A9E-0C44-89F7-3D42F07CCEE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49135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5.xml"/><Relationship Id="rId10" Type="http://schemas.openxmlformats.org/officeDocument/2006/relationships/image" Target="../media/image7.png"/><Relationship Id="rId4" Type="http://schemas.openxmlformats.org/officeDocument/2006/relationships/tags" Target="../tags/tag4.xml"/><Relationship Id="rId9" Type="http://schemas.openxmlformats.org/officeDocument/2006/relationships/image" Target="../media/image6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4" Type="http://schemas.openxmlformats.org/officeDocument/2006/relationships/image" Target="../media/image10.emf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A3ACA0F6-FC38-0F49-94D3-BA301B68632E}" type="datetime1">
              <a:rPr lang="en-US" smtClean="0"/>
              <a:t>4/25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D8B68D16-0CE2-A544-AAE1-DE70B06D70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91023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2164C343-CA67-A14D-8481-F6BC53B88468}" type="datetime1">
              <a:rPr lang="en-US" smtClean="0"/>
              <a:t>4/25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D8B68D16-0CE2-A544-AAE1-DE70B06D70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83945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FF351861-1753-B044-9EEC-A2A058A3C8B1}" type="datetime1">
              <a:rPr lang="en-US" smtClean="0"/>
              <a:t>4/25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D8B68D16-0CE2-A544-AAE1-DE70B06D70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74627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and Content">
  <p:cSld name="Title, Subtitle and Content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3"/>
          <p:cNvSpPr txBox="1">
            <a:spLocks noGrp="1"/>
          </p:cNvSpPr>
          <p:nvPr>
            <p:ph type="body" idx="1"/>
          </p:nvPr>
        </p:nvSpPr>
        <p:spPr>
          <a:xfrm>
            <a:off x="254001" y="132081"/>
            <a:ext cx="8514080" cy="2059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189" lvl="0" indent="-228594" algn="l">
              <a:lnSpc>
                <a:spcPct val="100000"/>
              </a:lnSpc>
              <a:spcBef>
                <a:spcPts val="160"/>
              </a:spcBef>
              <a:spcAft>
                <a:spcPts val="0"/>
              </a:spcAft>
              <a:buSzPts val="800"/>
              <a:buNone/>
              <a:defRPr sz="80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78" lvl="1" indent="-228594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000"/>
              <a:buNone/>
              <a:defRPr sz="1000"/>
            </a:lvl2pPr>
            <a:lvl3pPr marL="1371566" lvl="2" indent="-228594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000"/>
              <a:buNone/>
              <a:defRPr sz="1000"/>
            </a:lvl3pPr>
            <a:lvl4pPr marL="1828754" lvl="3" indent="-228594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000"/>
              <a:buNone/>
              <a:defRPr sz="1000"/>
            </a:lvl4pPr>
            <a:lvl5pPr marL="2285943" lvl="4" indent="-228594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000"/>
              <a:buNone/>
              <a:defRPr sz="1000"/>
            </a:lvl5pPr>
            <a:lvl6pPr marL="2743132" lvl="5" indent="-342892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320" lvl="6" indent="-342892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509" lvl="7" indent="-342892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697" lvl="8" indent="-342892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" name="Google Shape;20;p3"/>
          <p:cNvSpPr txBox="1">
            <a:spLocks noGrp="1"/>
          </p:cNvSpPr>
          <p:nvPr>
            <p:ph type="title"/>
          </p:nvPr>
        </p:nvSpPr>
        <p:spPr>
          <a:xfrm>
            <a:off x="254001" y="327900"/>
            <a:ext cx="8514080" cy="4341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3"/>
          <p:cNvSpPr txBox="1">
            <a:spLocks noGrp="1"/>
          </p:cNvSpPr>
          <p:nvPr>
            <p:ph type="body" idx="2"/>
          </p:nvPr>
        </p:nvSpPr>
        <p:spPr>
          <a:xfrm>
            <a:off x="254001" y="757179"/>
            <a:ext cx="8514080" cy="350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189" lvl="0" indent="-228594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2000"/>
              <a:buFont typeface="Arial"/>
              <a:buNone/>
              <a:defRPr sz="2000">
                <a:solidFill>
                  <a:srgbClr val="000000"/>
                </a:solidFill>
              </a:defRPr>
            </a:lvl1pPr>
            <a:lvl2pPr marL="914378" lvl="1" indent="-228594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2000"/>
              <a:buFont typeface="Arial"/>
              <a:buNone/>
              <a:defRPr sz="2000"/>
            </a:lvl2pPr>
            <a:lvl3pPr marL="1371566" lvl="2" indent="-228594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2000"/>
              <a:buFont typeface="Arial"/>
              <a:buNone/>
              <a:defRPr sz="2000"/>
            </a:lvl3pPr>
            <a:lvl4pPr marL="1828754" lvl="3" indent="-228594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2000"/>
              <a:buFont typeface="Arial"/>
              <a:buNone/>
              <a:defRPr sz="2000"/>
            </a:lvl4pPr>
            <a:lvl5pPr marL="2285943" lvl="4" indent="-228594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2000"/>
              <a:buFont typeface="Arial"/>
              <a:buNone/>
              <a:defRPr sz="2000"/>
            </a:lvl5pPr>
            <a:lvl6pPr marL="2743132" lvl="5" indent="-342892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320" lvl="6" indent="-342892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509" lvl="7" indent="-342892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697" lvl="8" indent="-342892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" name="Google Shape;22;p3"/>
          <p:cNvSpPr txBox="1">
            <a:spLocks noGrp="1"/>
          </p:cNvSpPr>
          <p:nvPr>
            <p:ph type="body" idx="3"/>
          </p:nvPr>
        </p:nvSpPr>
        <p:spPr>
          <a:xfrm>
            <a:off x="1412241" y="1602106"/>
            <a:ext cx="6319520" cy="27193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189" lvl="0" indent="-342892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•"/>
              <a:defRPr/>
            </a:lvl1pPr>
            <a:lvl2pPr marL="914378" lvl="1" indent="-342892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•"/>
              <a:defRPr/>
            </a:lvl2pPr>
            <a:lvl3pPr marL="1371566" lvl="2" indent="-342892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•"/>
              <a:defRPr/>
            </a:lvl3pPr>
            <a:lvl4pPr marL="1828754" lvl="3" indent="-342892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•"/>
              <a:defRPr/>
            </a:lvl4pPr>
            <a:lvl5pPr marL="2285943" lvl="4" indent="-342892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•"/>
              <a:defRPr/>
            </a:lvl5pPr>
            <a:lvl6pPr marL="2743132" lvl="5" indent="-342892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320" lvl="6" indent="-342892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509" lvl="7" indent="-342892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697" lvl="8" indent="-342892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" name="Google Shape;24;p3"/>
          <p:cNvSpPr txBox="1">
            <a:spLocks noGrp="1"/>
          </p:cNvSpPr>
          <p:nvPr>
            <p:ph type="dt" idx="10"/>
          </p:nvPr>
        </p:nvSpPr>
        <p:spPr>
          <a:xfrm>
            <a:off x="254000" y="4802824"/>
            <a:ext cx="1422401" cy="2746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fld id="{03BE82F0-2158-BD41-A38F-4EC2DA0E85E1}" type="datetime1">
              <a:rPr lang="en-US" smtClean="0"/>
              <a:t>4/25/25</a:t>
            </a:fld>
            <a:endParaRPr/>
          </a:p>
        </p:txBody>
      </p:sp>
      <p:sp>
        <p:nvSpPr>
          <p:cNvPr id="25" name="Google Shape;25;p3"/>
          <p:cNvSpPr txBox="1">
            <a:spLocks noGrp="1"/>
          </p:cNvSpPr>
          <p:nvPr>
            <p:ph type="ftr" idx="11"/>
          </p:nvPr>
        </p:nvSpPr>
        <p:spPr>
          <a:xfrm>
            <a:off x="1676402" y="4802824"/>
            <a:ext cx="5791199" cy="2746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Pre-Decisional Information – For Planning and Discussion Purposes Only </a:t>
            </a:r>
            <a:endParaRPr/>
          </a:p>
        </p:txBody>
      </p:sp>
      <p:sp>
        <p:nvSpPr>
          <p:cNvPr id="26" name="Google Shape;26;p3"/>
          <p:cNvSpPr txBox="1">
            <a:spLocks noGrp="1"/>
          </p:cNvSpPr>
          <p:nvPr>
            <p:ph type="sldNum" idx="12"/>
          </p:nvPr>
        </p:nvSpPr>
        <p:spPr>
          <a:xfrm>
            <a:off x="7467600" y="4802824"/>
            <a:ext cx="586130" cy="2720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89283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70273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C180A96-C4C3-E4C0-B9BF-CF057049D1D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8CDBB7A-81D8-895B-895A-623E024801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39984" y="3793603"/>
            <a:ext cx="2845202" cy="975436"/>
          </a:xfrm>
        </p:spPr>
        <p:txBody>
          <a:bodyPr anchor="b">
            <a:noAutofit/>
          </a:bodyPr>
          <a:lstStyle>
            <a:lvl1pPr algn="l">
              <a:defRPr sz="2700">
                <a:solidFill>
                  <a:schemeClr val="bg1"/>
                </a:solidFill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C02007-1B7F-8508-F7B7-D4225AF281A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543300" y="4767262"/>
            <a:ext cx="2057400" cy="273844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</a:lstStyle>
          <a:p>
            <a:fld id="{A033F292-A9C9-4341-9066-99E3C2E1640D}" type="datetime1">
              <a:rPr lang="en-US" smtClean="0"/>
              <a:t>4/25/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42358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Text&#10;&#10;Description automatically generated with medium confidence">
            <a:extLst>
              <a:ext uri="{FF2B5EF4-FFF2-40B4-BE49-F238E27FC236}">
                <a16:creationId xmlns:a16="http://schemas.microsoft.com/office/drawing/2014/main" id="{0F3D2F81-10E4-42B4-859C-76F7E3B3DD8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648FAD4-1AA3-DC99-285A-1EE186390E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410765"/>
            <a:ext cx="7886700" cy="273845"/>
          </a:xfrm>
        </p:spPr>
        <p:txBody>
          <a:bodyPr>
            <a:normAutofit/>
          </a:bodyPr>
          <a:lstStyle>
            <a:lvl1pPr>
              <a:defRPr sz="1350"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787056-1C72-254D-D43E-D8248F619B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006997"/>
            <a:ext cx="7886700" cy="3625725"/>
          </a:xfrm>
        </p:spPr>
        <p:txBody>
          <a:bodyPr/>
          <a:lstStyle>
            <a:lvl1pPr marL="171450" indent="-171450">
              <a:buClr>
                <a:schemeClr val="accent2"/>
              </a:buClr>
              <a:buSzPct val="75000"/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4350" indent="-171450">
              <a:buClr>
                <a:schemeClr val="accent2"/>
              </a:buClr>
              <a:buSzPct val="75000"/>
              <a:buFont typeface="Courier New" panose="02070309020205020404" pitchFamily="49" charset="0"/>
              <a:buChar char="o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SzPct val="75000"/>
              <a:buFont typeface="Courier New" panose="02070309020205020404" pitchFamily="49" charset="0"/>
              <a:buChar char="o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00150" indent="-171450">
              <a:buClr>
                <a:schemeClr val="accent2"/>
              </a:buClr>
              <a:buSzPct val="75000"/>
              <a:buFont typeface="Courier New" panose="02070309020205020404" pitchFamily="49" charset="0"/>
              <a:buChar char="o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3050" indent="-171450">
              <a:buClr>
                <a:schemeClr val="accent2"/>
              </a:buClr>
              <a:buSzPct val="75000"/>
              <a:buFont typeface="Courier New" panose="02070309020205020404" pitchFamily="49" charset="0"/>
              <a:buChar char="o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 Second level</a:t>
            </a:r>
          </a:p>
          <a:p>
            <a:pPr lvl="2"/>
            <a:r>
              <a:rPr lang="en-US"/>
              <a:t> Third level</a:t>
            </a:r>
          </a:p>
          <a:p>
            <a:pPr lvl="3"/>
            <a:r>
              <a:rPr lang="en-US"/>
              <a:t> 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B76B59E-D1BD-A7C6-EACB-815DD220A8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E725A2-6655-FD4A-89FA-F8CAF36DD2C7}" type="datetime1">
              <a:rPr lang="en-US" smtClean="0"/>
              <a:t>4/25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690E6D-E32A-1A5C-4FFF-21502181EE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AF03BF-4F31-B12C-7E12-3EB1304398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17825" y="-34725"/>
            <a:ext cx="368220" cy="215255"/>
          </a:xfrm>
        </p:spPr>
        <p:txBody>
          <a:bodyPr/>
          <a:lstStyle>
            <a:lvl1pPr algn="l">
              <a:defRPr sz="788">
                <a:solidFill>
                  <a:srgbClr val="FF0000"/>
                </a:solidFill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</a:lstStyle>
          <a:p>
            <a:fld id="{5C45B2F5-57CC-EE4A-B703-F48B6F440E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63540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599E9E-48B0-3751-D97D-954939CEA9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4901D59-89F5-7769-1682-241DA4BDF1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7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82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82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5496BF-486A-B78E-757B-74BF27486C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9441AE-4F5B-A542-BB0D-53641832A572}" type="datetime1">
              <a:rPr lang="en-US" smtClean="0"/>
              <a:t>4/25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A05520-7225-6AC7-16A0-6B83A52B9C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7AA5FD-8C52-86EF-815C-D813540E05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45B2F5-57CC-EE4A-B703-F48B6F440E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70467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EE8D7E-490D-6272-73E0-E035D79834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5F7B11-6CAC-92A5-43B6-F89955E106C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8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6A58724-A9E0-5D99-99D4-3455B548B4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8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FB7010-E5D0-A6CB-D788-1359A623B1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B47A7-C175-DF40-891D-F7AA74D31D02}" type="datetime1">
              <a:rPr lang="en-US" smtClean="0"/>
              <a:t>4/25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C67D30-7A8D-09F6-06AC-EF3C1F6F24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82BD82F-8F6E-A059-F9C0-A99B8103C9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45B2F5-57CC-EE4A-B703-F48B6F440E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66083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1C26FF-CEC3-2004-8F97-BCE2D96195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D2BA8D9-71A7-1D48-03EA-EAC80D7D970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ED39241-EBF1-EB9A-56DD-EF4C8B139F8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2813A39-B1DC-4249-3716-43DDDBE1286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7A4802E-CE84-60A9-B261-41D9A1B8F31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1C74415-E0DB-B34A-A816-7B72F31F61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381EC9-3E33-C540-BB85-4D1657614E77}" type="datetime1">
              <a:rPr lang="en-US" smtClean="0"/>
              <a:t>4/25/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DFC5272-D14D-4CC5-160B-B2E4995B9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DA1A8C0-47E0-C91B-0445-BCA84D60EA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45B2F5-57CC-EE4A-B703-F48B6F440E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163480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BEA157-444C-AD88-82F9-4B2613A5B0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0A99B92-6550-E636-5040-AA50EB73EF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0A75E-A5AF-D14C-BA08-927BDF31729E}" type="datetime1">
              <a:rPr lang="en-US" smtClean="0"/>
              <a:t>4/25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08FDDF-4D1A-DAE5-F8EE-73C52D4142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D0ECF6-CECB-43D4-7534-A970C23D85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45B2F5-57CC-EE4A-B703-F48B6F440E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0775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B3530543-FAB0-2C44-8D32-A88E582D92EF}" type="datetime1">
              <a:rPr lang="en-US" smtClean="0"/>
              <a:t>4/25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D8B68D16-0CE2-A544-AAE1-DE70B06D70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153668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672D7C-4DB1-753A-D088-0108918A6D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548575-CD7A-774F-AD1A-FEA6A38BA690}" type="datetime1">
              <a:rPr lang="en-US" smtClean="0"/>
              <a:t>4/25/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1371278-D38F-C3F0-6AA4-3B594A211F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C76855-8A27-15EF-875E-8E929BF7B3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45B2F5-57CC-EE4A-B703-F48B6F440E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20232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03FD8F-4054-7539-92D1-D53DF16D3E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30F736-9817-DA88-574E-934C54BC97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628F4CF-9EF6-AF1D-C233-49F82E8EB6E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B81754F-94D7-42C6-F7B2-86FDE4AFE0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F6275C-08E8-EC43-8451-206064AFA522}" type="datetime1">
              <a:rPr lang="en-US" smtClean="0"/>
              <a:t>4/25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B766516-B153-37D4-AE63-0E4A6ED820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B72AE89-300A-234B-3AB1-8C973E1BD4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45B2F5-57CC-EE4A-B703-F48B6F440E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69237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D80771-A678-2397-1AFE-4A35C1C85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5169147-1FA9-52A7-D27D-1393C5F3CCE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F5EBB7-0580-59A1-088A-25BDCED839D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ECC2027-CCBD-A82A-7DFB-9F6BE4F9F7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A7843C-455D-8348-AC1B-CCB261B44527}" type="datetime1">
              <a:rPr lang="en-US" smtClean="0"/>
              <a:t>4/25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9843944-9C4E-E60B-AACC-77B99DA526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E6440C-17A6-535B-2203-4AA169DA69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45B2F5-57CC-EE4A-B703-F48B6F440E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3847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3DB32B-1C91-1A23-47BB-95EFBDCB9A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AE13987-0D89-A4BA-211C-718835DBF8E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4838F2-6153-04B3-50D7-BA1B4267E4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022FA-25CD-8045-9017-495B3933ED74}" type="datetime1">
              <a:rPr lang="en-US" smtClean="0"/>
              <a:t>4/25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4FD5C2-7F28-2DD5-A926-F9A2ECD02F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0D48AD-973A-AC50-7D76-FAEB29C756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45B2F5-57CC-EE4A-B703-F48B6F440E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18284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82446B1-8C8C-3F05-210F-1BC7C972C20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3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6DC78A5-867C-8F43-6211-FD2295A911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3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08365B-3E2D-3FE9-764A-A9903D5A47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82046C-8963-D04F-B61A-86F1339A0091}" type="datetime1">
              <a:rPr lang="en-US" smtClean="0"/>
              <a:t>4/25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08096F-D872-3AD7-735F-D2B0F281C0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FACFCE-0518-5AC7-66A8-BE6D7567A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45B2F5-57CC-EE4A-B703-F48B6F440E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457391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4477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and Content">
  <p:cSld name="Title, Subtitle and Content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3"/>
          <p:cNvSpPr txBox="1">
            <a:spLocks noGrp="1"/>
          </p:cNvSpPr>
          <p:nvPr>
            <p:ph type="body" idx="1"/>
          </p:nvPr>
        </p:nvSpPr>
        <p:spPr>
          <a:xfrm>
            <a:off x="254002" y="132082"/>
            <a:ext cx="8514080" cy="2059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178" lvl="0" indent="-228588" algn="l">
              <a:lnSpc>
                <a:spcPct val="100000"/>
              </a:lnSpc>
              <a:spcBef>
                <a:spcPts val="160"/>
              </a:spcBef>
              <a:spcAft>
                <a:spcPts val="0"/>
              </a:spcAft>
              <a:buSzPts val="800"/>
              <a:buNone/>
              <a:defRPr sz="80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5" lvl="1" indent="-228588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000"/>
              <a:buNone/>
              <a:defRPr sz="1000"/>
            </a:lvl2pPr>
            <a:lvl3pPr marL="1371532" lvl="2" indent="-228588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000"/>
              <a:buNone/>
              <a:defRPr sz="1000"/>
            </a:lvl3pPr>
            <a:lvl4pPr marL="1828709" lvl="3" indent="-228588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000"/>
              <a:buNone/>
              <a:defRPr sz="1000"/>
            </a:lvl4pPr>
            <a:lvl5pPr marL="2285886" lvl="4" indent="-228588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000"/>
              <a:buNone/>
              <a:defRPr sz="1000"/>
            </a:lvl5pPr>
            <a:lvl6pPr marL="2743064" lvl="5" indent="-342884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240" lvl="6" indent="-342884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418" lvl="7" indent="-342884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595" lvl="8" indent="-342884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" name="Google Shape;20;p3"/>
          <p:cNvSpPr txBox="1">
            <a:spLocks noGrp="1"/>
          </p:cNvSpPr>
          <p:nvPr>
            <p:ph type="title"/>
          </p:nvPr>
        </p:nvSpPr>
        <p:spPr>
          <a:xfrm>
            <a:off x="254002" y="327901"/>
            <a:ext cx="8514080" cy="4341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3"/>
          <p:cNvSpPr txBox="1">
            <a:spLocks noGrp="1"/>
          </p:cNvSpPr>
          <p:nvPr>
            <p:ph type="body" idx="2"/>
          </p:nvPr>
        </p:nvSpPr>
        <p:spPr>
          <a:xfrm>
            <a:off x="254002" y="757179"/>
            <a:ext cx="8514080" cy="350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178" lvl="0" indent="-228588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2000"/>
              <a:buFont typeface="Arial"/>
              <a:buNone/>
              <a:defRPr sz="2000">
                <a:solidFill>
                  <a:srgbClr val="000000"/>
                </a:solidFill>
              </a:defRPr>
            </a:lvl1pPr>
            <a:lvl2pPr marL="914355" lvl="1" indent="-228588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2000"/>
              <a:buFont typeface="Arial"/>
              <a:buNone/>
              <a:defRPr sz="2000"/>
            </a:lvl2pPr>
            <a:lvl3pPr marL="1371532" lvl="2" indent="-228588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2000"/>
              <a:buFont typeface="Arial"/>
              <a:buNone/>
              <a:defRPr sz="2000"/>
            </a:lvl3pPr>
            <a:lvl4pPr marL="1828709" lvl="3" indent="-228588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2000"/>
              <a:buFont typeface="Arial"/>
              <a:buNone/>
              <a:defRPr sz="2000"/>
            </a:lvl4pPr>
            <a:lvl5pPr marL="2285886" lvl="4" indent="-228588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2000"/>
              <a:buFont typeface="Arial"/>
              <a:buNone/>
              <a:defRPr sz="2000"/>
            </a:lvl5pPr>
            <a:lvl6pPr marL="2743064" lvl="5" indent="-342884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240" lvl="6" indent="-342884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418" lvl="7" indent="-342884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595" lvl="8" indent="-342884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" name="Google Shape;22;p3"/>
          <p:cNvSpPr txBox="1">
            <a:spLocks noGrp="1"/>
          </p:cNvSpPr>
          <p:nvPr>
            <p:ph type="body" idx="3"/>
          </p:nvPr>
        </p:nvSpPr>
        <p:spPr>
          <a:xfrm>
            <a:off x="1412242" y="1602106"/>
            <a:ext cx="6319520" cy="27193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178" lvl="0" indent="-342884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•"/>
              <a:defRPr/>
            </a:lvl1pPr>
            <a:lvl2pPr marL="914355" lvl="1" indent="-342884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•"/>
              <a:defRPr/>
            </a:lvl2pPr>
            <a:lvl3pPr marL="1371532" lvl="2" indent="-342884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•"/>
              <a:defRPr/>
            </a:lvl3pPr>
            <a:lvl4pPr marL="1828709" lvl="3" indent="-342884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•"/>
              <a:defRPr/>
            </a:lvl4pPr>
            <a:lvl5pPr marL="2285886" lvl="4" indent="-342884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•"/>
              <a:defRPr/>
            </a:lvl5pPr>
            <a:lvl6pPr marL="2743064" lvl="5" indent="-342884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240" lvl="6" indent="-342884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418" lvl="7" indent="-342884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595" lvl="8" indent="-342884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" name="Google Shape;24;p3"/>
          <p:cNvSpPr txBox="1">
            <a:spLocks noGrp="1"/>
          </p:cNvSpPr>
          <p:nvPr>
            <p:ph type="dt" idx="10"/>
          </p:nvPr>
        </p:nvSpPr>
        <p:spPr>
          <a:xfrm>
            <a:off x="254001" y="4802825"/>
            <a:ext cx="1422401" cy="2746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fld id="{03BE82F0-2158-BD41-A38F-4EC2DA0E85E1}" type="datetime1">
              <a:rPr lang="en-US" smtClean="0"/>
              <a:t>4/25/25</a:t>
            </a:fld>
            <a:endParaRPr/>
          </a:p>
        </p:txBody>
      </p:sp>
      <p:sp>
        <p:nvSpPr>
          <p:cNvPr id="25" name="Google Shape;25;p3"/>
          <p:cNvSpPr txBox="1">
            <a:spLocks noGrp="1"/>
          </p:cNvSpPr>
          <p:nvPr>
            <p:ph type="ftr" idx="11"/>
          </p:nvPr>
        </p:nvSpPr>
        <p:spPr>
          <a:xfrm>
            <a:off x="1676403" y="4802825"/>
            <a:ext cx="5791199" cy="2746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Pre-Decisional Information – For Planning and Discussion Purposes Only </a:t>
            </a:r>
            <a:endParaRPr/>
          </a:p>
        </p:txBody>
      </p:sp>
      <p:sp>
        <p:nvSpPr>
          <p:cNvPr id="26" name="Google Shape;26;p3"/>
          <p:cNvSpPr txBox="1">
            <a:spLocks noGrp="1"/>
          </p:cNvSpPr>
          <p:nvPr>
            <p:ph type="sldNum" idx="12"/>
          </p:nvPr>
        </p:nvSpPr>
        <p:spPr>
          <a:xfrm>
            <a:off x="7467600" y="4802825"/>
            <a:ext cx="586130" cy="2720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520217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st slide">
    <p:bg>
      <p:bgPr>
        <a:blipFill dpi="0" rotWithShape="1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937D059-515F-4D32-99C4-6F9212128B55}"/>
              </a:ext>
            </a:extLst>
          </p:cNvPr>
          <p:cNvSpPr/>
          <p:nvPr/>
        </p:nvSpPr>
        <p:spPr>
          <a:xfrm>
            <a:off x="296466" y="347663"/>
            <a:ext cx="3577828" cy="4448175"/>
          </a:xfrm>
          <a:prstGeom prst="rect">
            <a:avLst/>
          </a:prstGeom>
          <a:solidFill>
            <a:schemeClr val="bg1">
              <a:alpha val="83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LU" sz="135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80143" y="538579"/>
            <a:ext cx="3177457" cy="3806779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4050"/>
            </a:lvl1pPr>
          </a:lstStyle>
          <a:p>
            <a:r>
              <a:rPr lang="en-GB"/>
              <a:t>Click to edit Master title style</a:t>
            </a:r>
            <a:endParaRPr lang="de-LU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0142" y="4460789"/>
            <a:ext cx="1879998" cy="21961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Date</a:t>
            </a:r>
            <a:endParaRPr lang="de-LU"/>
          </a:p>
        </p:txBody>
      </p:sp>
    </p:spTree>
    <p:extLst>
      <p:ext uri="{BB962C8B-B14F-4D97-AF65-F5344CB8AC3E}">
        <p14:creationId xmlns:p14="http://schemas.microsoft.com/office/powerpoint/2010/main" val="26701980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477165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72089AC1-7D3B-BF40-1A8F-750CDD8ABAC5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8984" y="328852"/>
            <a:ext cx="8176034" cy="4599019"/>
          </a:xfrm>
          <a:prstGeom prst="rect">
            <a:avLst/>
          </a:prstGeom>
        </p:spPr>
      </p:pic>
      <p:pic>
        <p:nvPicPr>
          <p:cNvPr id="4" name="Background">
            <a:extLst>
              <a:ext uri="{FF2B5EF4-FFF2-40B4-BE49-F238E27FC236}">
                <a16:creationId xmlns:a16="http://schemas.microsoft.com/office/drawing/2014/main" id="{FB79E4AF-AAC4-E03A-9B18-B86CBBAD22C7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8324"/>
            <a:ext cx="9144000" cy="51435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US" sz="3300" b="1" i="0" baseline="0">
              <a:solidFill>
                <a:schemeClr val="bg1"/>
              </a:solidFill>
              <a:latin typeface="DM Sans" pitchFamily="2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 userDrawn="1">
            <p:ph type="body" sz="quarter" idx="13" hasCustomPrompt="1"/>
            <p:custDataLst>
              <p:tags r:id="rId3"/>
            </p:custDataLst>
          </p:nvPr>
        </p:nvSpPr>
        <p:spPr>
          <a:xfrm>
            <a:off x="4848838" y="3264500"/>
            <a:ext cx="3602219" cy="1385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buClr>
                <a:schemeClr val="tx2"/>
              </a:buClr>
              <a:defRPr lang="en-US" sz="900" dirty="0">
                <a:solidFill>
                  <a:schemeClr val="tx2"/>
                </a:solidFill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4"/>
            </p:custDataLst>
          </p:nvPr>
        </p:nvSpPr>
        <p:spPr>
          <a:xfrm>
            <a:off x="4848838" y="2563233"/>
            <a:ext cx="3602219" cy="184666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buClr>
                <a:schemeClr val="tx2"/>
              </a:buClr>
              <a:defRPr lang="en-US" sz="1200" dirty="0">
                <a:solidFill>
                  <a:schemeClr val="tx2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 userDrawn="1">
            <p:ph type="title"/>
            <p:custDataLst>
              <p:tags r:id="rId5"/>
            </p:custDataLst>
          </p:nvPr>
        </p:nvSpPr>
        <p:spPr>
          <a:xfrm>
            <a:off x="4848838" y="1747053"/>
            <a:ext cx="3602219" cy="73866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lvl1pPr rtl="0">
              <a:buClr>
                <a:schemeClr val="tx2"/>
              </a:buClr>
              <a:defRPr lang="en-US" sz="2400" cap="all" baseline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" name="Rocket Lab USA, Inc.">
            <a:extLst>
              <a:ext uri="{FF2B5EF4-FFF2-40B4-BE49-F238E27FC236}">
                <a16:creationId xmlns:a16="http://schemas.microsoft.com/office/drawing/2014/main" id="{4E78A2EB-4116-7AB2-8271-78CC6ADABD55}"/>
              </a:ext>
            </a:extLst>
          </p:cNvPr>
          <p:cNvSpPr txBox="1"/>
          <p:nvPr userDrawn="1"/>
        </p:nvSpPr>
        <p:spPr>
          <a:xfrm>
            <a:off x="4848837" y="616711"/>
            <a:ext cx="1134926" cy="138499"/>
          </a:xfrm>
          <a:prstGeom prst="rect">
            <a:avLst/>
          </a:prstGeom>
          <a:noFill/>
        </p:spPr>
        <p:txBody>
          <a:bodyPr wrap="none" lIns="0" tIns="0" rIns="0" bIns="0" anchor="t">
            <a:spAutoFit/>
          </a:bodyPr>
          <a:lstStyle/>
          <a:p>
            <a:pPr rtl="0">
              <a:lnSpc>
                <a:spcPct val="100000"/>
              </a:lnSpc>
            </a:pPr>
            <a:r>
              <a:rPr lang="en-US" sz="900" b="1">
                <a:solidFill>
                  <a:schemeClr val="bg1"/>
                </a:solidFill>
                <a:latin typeface="DM Sans" pitchFamily="2" charset="0"/>
              </a:rPr>
              <a:t>Rocket Lab USA, Inc.</a:t>
            </a:r>
            <a:endParaRPr lang="en-US" sz="900">
              <a:latin typeface="DM Sans" pitchFamily="2" charset="0"/>
            </a:endParaRPr>
          </a:p>
        </p:txBody>
      </p:sp>
      <p:sp>
        <p:nvSpPr>
          <p:cNvPr id="15" name="Rocket Lab USA, Inc.">
            <a:extLst>
              <a:ext uri="{FF2B5EF4-FFF2-40B4-BE49-F238E27FC236}">
                <a16:creationId xmlns:a16="http://schemas.microsoft.com/office/drawing/2014/main" id="{F47BB47B-8EEE-94F5-BDD5-1148A294FC7D}"/>
              </a:ext>
            </a:extLst>
          </p:cNvPr>
          <p:cNvSpPr txBox="1"/>
          <p:nvPr userDrawn="1"/>
        </p:nvSpPr>
        <p:spPr>
          <a:xfrm>
            <a:off x="4848837" y="4452904"/>
            <a:ext cx="950581" cy="138499"/>
          </a:xfrm>
          <a:prstGeom prst="rect">
            <a:avLst/>
          </a:prstGeom>
          <a:noFill/>
        </p:spPr>
        <p:txBody>
          <a:bodyPr wrap="none" lIns="0" tIns="0" rIns="0" bIns="0" anchor="t">
            <a:spAutoFit/>
          </a:bodyPr>
          <a:lstStyle/>
          <a:p>
            <a:pPr rtl="0">
              <a:lnSpc>
                <a:spcPct val="100000"/>
              </a:lnSpc>
            </a:pPr>
            <a:r>
              <a:rPr lang="en-US" sz="900" b="0">
                <a:solidFill>
                  <a:schemeClr val="bg1"/>
                </a:solidFill>
                <a:latin typeface="DM Sans" pitchFamily="2" charset="0"/>
              </a:rPr>
              <a:t>rocketlabusa.com</a:t>
            </a:r>
            <a:endParaRPr lang="en-US" sz="900" b="0">
              <a:latin typeface="DM San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44040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- ExportCtr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2337199-C413-185D-F946-FBBE2BA2FA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4366"/>
            <a:ext cx="9144000" cy="38576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E17B55E-3ED4-5CAF-BD37-9F1B23D6463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4757738"/>
            <a:ext cx="9144000" cy="385763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76B35B-3CF5-6144-B6DA-A9DDF0E5C0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948" y="1009268"/>
            <a:ext cx="8334104" cy="3710926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F9959B2C-A50E-7B38-455B-63648B9C16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71573" y="4796387"/>
            <a:ext cx="2600854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Date Placeholder 1">
            <a:extLst>
              <a:ext uri="{FF2B5EF4-FFF2-40B4-BE49-F238E27FC236}">
                <a16:creationId xmlns:a16="http://schemas.microsoft.com/office/drawing/2014/main" id="{96DED60F-4E73-D084-C0EB-6723E729EB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59361" y="4796387"/>
            <a:ext cx="1105649" cy="273844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91629F6-0B52-4049-8060-D5AB5CF35C59}" type="datetime1">
              <a:rPr lang="en-US" smtClean="0"/>
              <a:pPr/>
              <a:t>4/25/25</a:t>
            </a:fld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1FB7AD6-CF43-3A2A-53B0-47CB4C2D4978}"/>
              </a:ext>
            </a:extLst>
          </p:cNvPr>
          <p:cNvSpPr txBox="1"/>
          <p:nvPr userDrawn="1"/>
        </p:nvSpPr>
        <p:spPr>
          <a:xfrm>
            <a:off x="1115846" y="4942211"/>
            <a:ext cx="144462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25">
                <a:solidFill>
                  <a:srgbClr val="A6A6A6"/>
                </a:solidFill>
              </a:rPr>
              <a:t>Proprietary &amp; Export Controlled Information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25">
                <a:solidFill>
                  <a:srgbClr val="A6A6A6"/>
                </a:solidFill>
              </a:rPr>
              <a:t>Subject to Restrictions on Title Char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1775F8-DF07-3AEC-C881-C51E9CB99F2E}"/>
              </a:ext>
            </a:extLst>
          </p:cNvPr>
          <p:cNvSpPr txBox="1"/>
          <p:nvPr userDrawn="1"/>
        </p:nvSpPr>
        <p:spPr>
          <a:xfrm>
            <a:off x="332185" y="4987339"/>
            <a:ext cx="790601" cy="1731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25" b="0">
                <a:solidFill>
                  <a:srgbClr val="A6A6A6"/>
                </a:solidFill>
              </a:rPr>
              <a:t>Rocket Lab USA, Inc.</a:t>
            </a:r>
          </a:p>
        </p:txBody>
      </p:sp>
      <p:pic>
        <p:nvPicPr>
          <p:cNvPr id="18" name="Picture 17" descr="Icon&#10;&#10;Description automatically generated">
            <a:extLst>
              <a:ext uri="{FF2B5EF4-FFF2-40B4-BE49-F238E27FC236}">
                <a16:creationId xmlns:a16="http://schemas.microsoft.com/office/drawing/2014/main" id="{A5CDEEDA-414B-A194-9924-D1F452771A0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42639" y="4933534"/>
            <a:ext cx="235039" cy="82832"/>
          </a:xfrm>
          <a:prstGeom prst="rect">
            <a:avLst/>
          </a:prstGeom>
        </p:spPr>
      </p:pic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ACFFB976-EC17-71A6-65CC-79C932D90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948" y="418941"/>
            <a:ext cx="8334104" cy="5278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Slide Number Placeholder 10">
            <a:extLst>
              <a:ext uri="{FF2B5EF4-FFF2-40B4-BE49-F238E27FC236}">
                <a16:creationId xmlns:a16="http://schemas.microsoft.com/office/drawing/2014/main" id="{96CEF8F6-1110-B4D9-5790-DF3302243E44}"/>
              </a:ext>
            </a:extLst>
          </p:cNvPr>
          <p:cNvSpPr txBox="1">
            <a:spLocks/>
          </p:cNvSpPr>
          <p:nvPr userDrawn="1"/>
        </p:nvSpPr>
        <p:spPr>
          <a:xfrm>
            <a:off x="78634" y="4978129"/>
            <a:ext cx="474334" cy="16537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00910F-2011-2044-B69D-2B5B02ED64F5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88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2AC6150-A9FB-DD81-B307-5F5753F39C7D}"/>
              </a:ext>
            </a:extLst>
          </p:cNvPr>
          <p:cNvCxnSpPr>
            <a:cxnSpLocks/>
          </p:cNvCxnSpPr>
          <p:nvPr userDrawn="1"/>
        </p:nvCxnSpPr>
        <p:spPr>
          <a:xfrm>
            <a:off x="1106760" y="5029941"/>
            <a:ext cx="0" cy="55372"/>
          </a:xfrm>
          <a:prstGeom prst="line">
            <a:avLst/>
          </a:prstGeom>
          <a:ln w="9525">
            <a:solidFill>
              <a:srgbClr val="D02A2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69776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97D92C89-194A-D94E-BF77-A6511A1AA258}" type="datetime1">
              <a:rPr lang="en-US" smtClean="0"/>
              <a:t>4/25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D8B68D16-0CE2-A544-AAE1-DE70B06D70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252795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9331A18-8071-D92F-8CE5-6695DC8C70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851011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331A18-8071-D92F-8CE5-6695DC8C70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4B5B51-EE2D-3B4C-A5CA-A798582868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DM Sans" pitchFamily="2" charset="0"/>
              </a:defRPr>
            </a:lvl1pPr>
          </a:lstStyle>
          <a:p>
            <a:fld id="{5D57868F-3335-D844-8B43-6D2E1B1533E6}" type="datetimeFigureOut">
              <a:rPr lang="en-US" smtClean="0"/>
              <a:pPr/>
              <a:t>4/25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827C82-C0E5-1A4D-A3BE-C083AF979F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DM Sans" pitchFamily="2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EB2745-3C8E-C04B-80D1-534630B8DB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DM Sans" pitchFamily="2" charset="0"/>
              </a:defRPr>
            </a:lvl1pPr>
          </a:lstStyle>
          <a:p>
            <a:fld id="{3200910F-2011-2044-B69D-2B5B02ED64F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467268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60945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5AAD1FC8-8CF1-8447-8974-7BA71622F2AA}" type="datetime1">
              <a:rPr lang="en-US" smtClean="0"/>
              <a:t>4/25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D8B68D16-0CE2-A544-AAE1-DE70B06D70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27012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840521BC-6BAE-5940-B793-C12D74AB8693}" type="datetime1">
              <a:rPr lang="en-US" smtClean="0"/>
              <a:t>4/25/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D8B68D16-0CE2-A544-AAE1-DE70B06D70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62645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DF94C33A-C228-164E-AAEB-DDE1757298AF}" type="datetime1">
              <a:rPr lang="en-US" smtClean="0"/>
              <a:t>4/25/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D8B68D16-0CE2-A544-AAE1-DE70B06D70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90386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96886730-C1FA-2F49-9B69-439BA95A2CFB}" type="datetime1">
              <a:rPr lang="en-US" smtClean="0"/>
              <a:t>4/25/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D8B68D16-0CE2-A544-AAE1-DE70B06D70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75117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  <a:prstGeom prst="rect">
            <a:avLst/>
          </a:prstGeo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5553A11F-69DE-264F-832C-2E209A4FCDCC}" type="datetime1">
              <a:rPr lang="en-US" smtClean="0"/>
              <a:t>4/25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D8B68D16-0CE2-A544-AAE1-DE70B06D70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09787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  <a:prstGeom prst="rect">
            <a:avLst/>
          </a:prstGeo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5E501D77-370B-2044-9CDD-9AF0DDF5E067}" type="datetime1">
              <a:rPr lang="en-US" smtClean="0"/>
              <a:t>4/25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D8B68D16-0CE2-A544-AAE1-DE70B06D70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1778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8578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14324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</p:sldLayoutIdLst>
  <p:hf sldNum="0" hdr="0" ftr="0" dt="0"/>
  <p:txStyles>
    <p:titleStyle>
      <a:lvl1pPr algn="ctr" defTabSz="761970" rtl="0" eaLnBrk="1" latinLnBrk="0" hangingPunct="1">
        <a:spcBef>
          <a:spcPct val="0"/>
        </a:spcBef>
        <a:buNone/>
        <a:defRPr sz="36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5739" indent="-285739" algn="l" defTabSz="7619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1pPr>
      <a:lvl2pPr marL="619100" indent="-238115" algn="l" defTabSz="761970" rtl="0" eaLnBrk="1" latinLnBrk="0" hangingPunct="1">
        <a:spcBef>
          <a:spcPct val="20000"/>
        </a:spcBef>
        <a:buFont typeface="Arial" pitchFamily="34" charset="0"/>
        <a:buChar char="–"/>
        <a:defRPr sz="2333" kern="1200">
          <a:solidFill>
            <a:schemeClr val="tx1"/>
          </a:solidFill>
          <a:latin typeface="+mn-lt"/>
          <a:ea typeface="+mn-ea"/>
          <a:cs typeface="+mn-cs"/>
        </a:defRPr>
      </a:lvl2pPr>
      <a:lvl3pPr marL="952462" indent="-190492" algn="l" defTabSz="76197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333447" indent="-190492" algn="l" defTabSz="761970" rtl="0" eaLnBrk="1" latinLnBrk="0" hangingPunct="1">
        <a:spcBef>
          <a:spcPct val="20000"/>
        </a:spcBef>
        <a:buFont typeface="Arial" pitchFamily="34" charset="0"/>
        <a:buChar char="–"/>
        <a:defRPr sz="1667" kern="1200">
          <a:solidFill>
            <a:schemeClr val="tx1"/>
          </a:solidFill>
          <a:latin typeface="+mn-lt"/>
          <a:ea typeface="+mn-ea"/>
          <a:cs typeface="+mn-cs"/>
        </a:defRPr>
      </a:lvl4pPr>
      <a:lvl5pPr marL="1714431" indent="-190492" algn="l" defTabSz="761970" rtl="0" eaLnBrk="1" latinLnBrk="0" hangingPunct="1">
        <a:spcBef>
          <a:spcPct val="20000"/>
        </a:spcBef>
        <a:buFont typeface="Arial" pitchFamily="34" charset="0"/>
        <a:buChar char="»"/>
        <a:defRPr sz="1667" kern="1200">
          <a:solidFill>
            <a:schemeClr val="tx1"/>
          </a:solidFill>
          <a:latin typeface="+mn-lt"/>
          <a:ea typeface="+mn-ea"/>
          <a:cs typeface="+mn-cs"/>
        </a:defRPr>
      </a:lvl5pPr>
      <a:lvl6pPr marL="2095416" indent="-190492" algn="l" defTabSz="761970" rtl="0" eaLnBrk="1" latinLnBrk="0" hangingPunct="1">
        <a:spcBef>
          <a:spcPct val="20000"/>
        </a:spcBef>
        <a:buFont typeface="Arial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6pPr>
      <a:lvl7pPr marL="2476401" indent="-190492" algn="l" defTabSz="761970" rtl="0" eaLnBrk="1" latinLnBrk="0" hangingPunct="1">
        <a:spcBef>
          <a:spcPct val="20000"/>
        </a:spcBef>
        <a:buFont typeface="Arial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7pPr>
      <a:lvl8pPr marL="2857386" indent="-190492" algn="l" defTabSz="761970" rtl="0" eaLnBrk="1" latinLnBrk="0" hangingPunct="1">
        <a:spcBef>
          <a:spcPct val="20000"/>
        </a:spcBef>
        <a:buFont typeface="Arial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8pPr>
      <a:lvl9pPr marL="3238370" indent="-190492" algn="l" defTabSz="761970" rtl="0" eaLnBrk="1" latinLnBrk="0" hangingPunct="1">
        <a:spcBef>
          <a:spcPct val="20000"/>
        </a:spcBef>
        <a:buFont typeface="Arial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985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7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95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93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92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90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893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878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7035E41-2B6B-8D4F-1E61-238EADD24B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9699C3-7C3F-BF14-2930-0C8FA4D3FC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8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D1B9E7-25EA-DD3C-88D2-E73F50A79C1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355533D-B7A1-2F4C-AFE5-A324EB6A529E}" type="datetime1">
              <a:rPr lang="en-US" smtClean="0"/>
              <a:t>4/25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417F08-0D6D-9C4E-8DF6-A6E7BD3055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87FC5C-608B-DC6E-6943-35E4CF1240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C45B2F5-57CC-EE4A-B703-F48B6F440E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4631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3.png"/><Relationship Id="rId4" Type="http://schemas.openxmlformats.org/officeDocument/2006/relationships/image" Target="../media/image12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g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png"/><Relationship Id="rId4" Type="http://schemas.openxmlformats.org/officeDocument/2006/relationships/image" Target="../media/image15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png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2.tiff"/><Relationship Id="rId5" Type="http://schemas.openxmlformats.org/officeDocument/2006/relationships/image" Target="../media/image21.tiff"/><Relationship Id="rId4" Type="http://schemas.openxmlformats.org/officeDocument/2006/relationships/image" Target="../media/image20.tiff"/><Relationship Id="rId9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5" Type="http://schemas.openxmlformats.org/officeDocument/2006/relationships/image" Target="../media/image27.png"/><Relationship Id="rId10" Type="http://schemas.openxmlformats.org/officeDocument/2006/relationships/image" Target="../media/image32.png"/><Relationship Id="rId4" Type="http://schemas.openxmlformats.org/officeDocument/2006/relationships/image" Target="../media/image26.png"/><Relationship Id="rId9" Type="http://schemas.openxmlformats.org/officeDocument/2006/relationships/image" Target="../media/image3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5.png"/><Relationship Id="rId18" Type="http://schemas.openxmlformats.org/officeDocument/2006/relationships/image" Target="../media/image50.png"/><Relationship Id="rId3" Type="http://schemas.openxmlformats.org/officeDocument/2006/relationships/image" Target="../media/image35.png"/><Relationship Id="rId21" Type="http://schemas.openxmlformats.org/officeDocument/2006/relationships/image" Target="../media/image53.svg"/><Relationship Id="rId7" Type="http://schemas.openxmlformats.org/officeDocument/2006/relationships/image" Target="../media/image39.png"/><Relationship Id="rId12" Type="http://schemas.openxmlformats.org/officeDocument/2006/relationships/image" Target="../media/image44.png"/><Relationship Id="rId17" Type="http://schemas.openxmlformats.org/officeDocument/2006/relationships/image" Target="../media/image49.sv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48.png"/><Relationship Id="rId20" Type="http://schemas.openxmlformats.org/officeDocument/2006/relationships/image" Target="../media/image52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38.png"/><Relationship Id="rId11" Type="http://schemas.openxmlformats.org/officeDocument/2006/relationships/image" Target="../media/image43.png"/><Relationship Id="rId24" Type="http://schemas.openxmlformats.org/officeDocument/2006/relationships/image" Target="../media/image56.png"/><Relationship Id="rId5" Type="http://schemas.openxmlformats.org/officeDocument/2006/relationships/image" Target="../media/image37.png"/><Relationship Id="rId15" Type="http://schemas.openxmlformats.org/officeDocument/2006/relationships/image" Target="../media/image47.png"/><Relationship Id="rId23" Type="http://schemas.openxmlformats.org/officeDocument/2006/relationships/image" Target="../media/image55.png"/><Relationship Id="rId10" Type="http://schemas.openxmlformats.org/officeDocument/2006/relationships/image" Target="../media/image42.png"/><Relationship Id="rId19" Type="http://schemas.openxmlformats.org/officeDocument/2006/relationships/image" Target="../media/image51.svg"/><Relationship Id="rId4" Type="http://schemas.openxmlformats.org/officeDocument/2006/relationships/image" Target="../media/image36.png"/><Relationship Id="rId9" Type="http://schemas.openxmlformats.org/officeDocument/2006/relationships/image" Target="../media/image41.png"/><Relationship Id="rId14" Type="http://schemas.openxmlformats.org/officeDocument/2006/relationships/image" Target="../media/image46.png"/><Relationship Id="rId22" Type="http://schemas.openxmlformats.org/officeDocument/2006/relationships/image" Target="../media/image54.png"/></Relationships>
</file>

<file path=ppt/slides/_rels/slide8.xml.rels><?xml version="1.0" encoding="UTF-8" standalone="yes"?>
<Relationships xmlns="http://schemas.openxmlformats.org/package/2006/relationships"><Relationship Id="rId26" Type="http://schemas.openxmlformats.org/officeDocument/2006/relationships/image" Target="../media/image80.svg"/><Relationship Id="rId21" Type="http://schemas.openxmlformats.org/officeDocument/2006/relationships/image" Target="../media/image75.png"/><Relationship Id="rId34" Type="http://schemas.openxmlformats.org/officeDocument/2006/relationships/image" Target="../media/image88.svg"/><Relationship Id="rId42" Type="http://schemas.openxmlformats.org/officeDocument/2006/relationships/image" Target="../media/image96.svg"/><Relationship Id="rId47" Type="http://schemas.openxmlformats.org/officeDocument/2006/relationships/image" Target="../media/image101.png"/><Relationship Id="rId50" Type="http://schemas.openxmlformats.org/officeDocument/2006/relationships/image" Target="../media/image104.png"/><Relationship Id="rId55" Type="http://schemas.openxmlformats.org/officeDocument/2006/relationships/image" Target="../media/image109.svg"/><Relationship Id="rId63" Type="http://schemas.openxmlformats.org/officeDocument/2006/relationships/image" Target="../media/image117.svg"/><Relationship Id="rId7" Type="http://schemas.openxmlformats.org/officeDocument/2006/relationships/image" Target="../media/image61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70.svg"/><Relationship Id="rId29" Type="http://schemas.openxmlformats.org/officeDocument/2006/relationships/image" Target="../media/image83.png"/><Relationship Id="rId11" Type="http://schemas.openxmlformats.org/officeDocument/2006/relationships/image" Target="../media/image65.png"/><Relationship Id="rId24" Type="http://schemas.openxmlformats.org/officeDocument/2006/relationships/image" Target="../media/image78.svg"/><Relationship Id="rId32" Type="http://schemas.openxmlformats.org/officeDocument/2006/relationships/image" Target="../media/image86.svg"/><Relationship Id="rId37" Type="http://schemas.openxmlformats.org/officeDocument/2006/relationships/image" Target="../media/image91.png"/><Relationship Id="rId40" Type="http://schemas.openxmlformats.org/officeDocument/2006/relationships/image" Target="../media/image94.png"/><Relationship Id="rId45" Type="http://schemas.openxmlformats.org/officeDocument/2006/relationships/image" Target="../media/image99.png"/><Relationship Id="rId53" Type="http://schemas.openxmlformats.org/officeDocument/2006/relationships/image" Target="../media/image107.svg"/><Relationship Id="rId58" Type="http://schemas.openxmlformats.org/officeDocument/2006/relationships/image" Target="../media/image112.png"/><Relationship Id="rId5" Type="http://schemas.openxmlformats.org/officeDocument/2006/relationships/image" Target="../media/image59.png"/><Relationship Id="rId61" Type="http://schemas.openxmlformats.org/officeDocument/2006/relationships/image" Target="../media/image115.svg"/><Relationship Id="rId19" Type="http://schemas.openxmlformats.org/officeDocument/2006/relationships/image" Target="../media/image73.png"/><Relationship Id="rId14" Type="http://schemas.openxmlformats.org/officeDocument/2006/relationships/image" Target="../media/image68.svg"/><Relationship Id="rId22" Type="http://schemas.openxmlformats.org/officeDocument/2006/relationships/image" Target="../media/image76.svg"/><Relationship Id="rId27" Type="http://schemas.openxmlformats.org/officeDocument/2006/relationships/image" Target="../media/image81.png"/><Relationship Id="rId30" Type="http://schemas.openxmlformats.org/officeDocument/2006/relationships/image" Target="../media/image84.svg"/><Relationship Id="rId35" Type="http://schemas.openxmlformats.org/officeDocument/2006/relationships/image" Target="../media/image89.png"/><Relationship Id="rId43" Type="http://schemas.openxmlformats.org/officeDocument/2006/relationships/image" Target="../media/image97.png"/><Relationship Id="rId48" Type="http://schemas.openxmlformats.org/officeDocument/2006/relationships/image" Target="../media/image102.png"/><Relationship Id="rId56" Type="http://schemas.openxmlformats.org/officeDocument/2006/relationships/image" Target="../media/image110.png"/><Relationship Id="rId64" Type="http://schemas.openxmlformats.org/officeDocument/2006/relationships/image" Target="../media/image118.png"/><Relationship Id="rId8" Type="http://schemas.openxmlformats.org/officeDocument/2006/relationships/image" Target="../media/image62.png"/><Relationship Id="rId51" Type="http://schemas.openxmlformats.org/officeDocument/2006/relationships/image" Target="../media/image105.svg"/><Relationship Id="rId3" Type="http://schemas.openxmlformats.org/officeDocument/2006/relationships/image" Target="../media/image57.png"/><Relationship Id="rId12" Type="http://schemas.openxmlformats.org/officeDocument/2006/relationships/image" Target="../media/image66.svg"/><Relationship Id="rId17" Type="http://schemas.openxmlformats.org/officeDocument/2006/relationships/image" Target="../media/image71.png"/><Relationship Id="rId25" Type="http://schemas.openxmlformats.org/officeDocument/2006/relationships/image" Target="../media/image79.png"/><Relationship Id="rId33" Type="http://schemas.openxmlformats.org/officeDocument/2006/relationships/image" Target="../media/image87.png"/><Relationship Id="rId38" Type="http://schemas.openxmlformats.org/officeDocument/2006/relationships/image" Target="../media/image92.png"/><Relationship Id="rId46" Type="http://schemas.openxmlformats.org/officeDocument/2006/relationships/image" Target="../media/image100.png"/><Relationship Id="rId59" Type="http://schemas.openxmlformats.org/officeDocument/2006/relationships/image" Target="../media/image113.png"/><Relationship Id="rId20" Type="http://schemas.openxmlformats.org/officeDocument/2006/relationships/image" Target="../media/image74.svg"/><Relationship Id="rId41" Type="http://schemas.openxmlformats.org/officeDocument/2006/relationships/image" Target="../media/image95.png"/><Relationship Id="rId54" Type="http://schemas.openxmlformats.org/officeDocument/2006/relationships/image" Target="../media/image108.png"/><Relationship Id="rId62" Type="http://schemas.openxmlformats.org/officeDocument/2006/relationships/image" Target="../media/image11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0.png"/><Relationship Id="rId15" Type="http://schemas.openxmlformats.org/officeDocument/2006/relationships/image" Target="../media/image69.png"/><Relationship Id="rId23" Type="http://schemas.openxmlformats.org/officeDocument/2006/relationships/image" Target="../media/image77.png"/><Relationship Id="rId28" Type="http://schemas.openxmlformats.org/officeDocument/2006/relationships/image" Target="../media/image82.svg"/><Relationship Id="rId36" Type="http://schemas.openxmlformats.org/officeDocument/2006/relationships/image" Target="../media/image90.png"/><Relationship Id="rId49" Type="http://schemas.openxmlformats.org/officeDocument/2006/relationships/image" Target="../media/image103.png"/><Relationship Id="rId57" Type="http://schemas.openxmlformats.org/officeDocument/2006/relationships/image" Target="../media/image111.png"/><Relationship Id="rId10" Type="http://schemas.openxmlformats.org/officeDocument/2006/relationships/image" Target="../media/image64.png"/><Relationship Id="rId31" Type="http://schemas.openxmlformats.org/officeDocument/2006/relationships/image" Target="../media/image85.png"/><Relationship Id="rId44" Type="http://schemas.openxmlformats.org/officeDocument/2006/relationships/image" Target="../media/image98.svg"/><Relationship Id="rId52" Type="http://schemas.openxmlformats.org/officeDocument/2006/relationships/image" Target="../media/image106.png"/><Relationship Id="rId60" Type="http://schemas.openxmlformats.org/officeDocument/2006/relationships/image" Target="../media/image114.png"/><Relationship Id="rId65" Type="http://schemas.openxmlformats.org/officeDocument/2006/relationships/image" Target="../media/image119.png"/><Relationship Id="rId4" Type="http://schemas.openxmlformats.org/officeDocument/2006/relationships/image" Target="../media/image58.png"/><Relationship Id="rId9" Type="http://schemas.openxmlformats.org/officeDocument/2006/relationships/image" Target="../media/image63.png"/><Relationship Id="rId13" Type="http://schemas.openxmlformats.org/officeDocument/2006/relationships/image" Target="../media/image67.png"/><Relationship Id="rId18" Type="http://schemas.openxmlformats.org/officeDocument/2006/relationships/image" Target="../media/image72.svg"/><Relationship Id="rId39" Type="http://schemas.openxmlformats.org/officeDocument/2006/relationships/image" Target="../media/image9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662C2414-5379-B52C-6FC9-B92FD97612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027" y="11723"/>
            <a:ext cx="9144000" cy="5143500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600BA99A-0D8C-4945-B5A3-82BAEF578B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21175" y="330898"/>
            <a:ext cx="5475518" cy="110784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en-US" sz="32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Caltech Mission </a:t>
            </a:r>
            <a:br>
              <a:rPr lang="en-US" sz="32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32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pophis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03DCBD30-A8B2-FA4C-A1CE-EC971EE0B04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0" y="2169934"/>
            <a:ext cx="4613027" cy="1107030"/>
          </a:xfrm>
        </p:spPr>
        <p:txBody>
          <a:bodyPr lIns="91440" tIns="45720" rIns="91440" bIns="45720" anchor="t"/>
          <a:lstStyle/>
          <a:p>
            <a:pPr>
              <a:spcBef>
                <a:spcPts val="0"/>
              </a:spcBef>
            </a:pPr>
            <a:endParaRPr lang="en-US" sz="1400" dirty="0">
              <a:solidFill>
                <a:schemeClr val="bg1"/>
              </a:solidFill>
              <a:latin typeface="Arial"/>
              <a:cs typeface="Arial"/>
            </a:endParaRPr>
          </a:p>
          <a:p>
            <a:pPr>
              <a:spcBef>
                <a:spcPts val="0"/>
              </a:spcBef>
            </a:pPr>
            <a:r>
              <a:rPr lang="en-US" sz="1400" dirty="0">
                <a:solidFill>
                  <a:schemeClr val="bg1"/>
                </a:solidFill>
                <a:latin typeface="Arial"/>
                <a:cs typeface="Arial"/>
              </a:rPr>
              <a:t>C. A. Raymond</a:t>
            </a:r>
            <a:r>
              <a:rPr lang="en-US" sz="1400" baseline="30000" dirty="0">
                <a:solidFill>
                  <a:schemeClr val="bg1"/>
                </a:solidFill>
                <a:latin typeface="Arial"/>
                <a:cs typeface="Arial"/>
              </a:rPr>
              <a:t>1</a:t>
            </a:r>
            <a:r>
              <a:rPr lang="en-US" sz="1400" dirty="0">
                <a:solidFill>
                  <a:schemeClr val="bg1"/>
                </a:solidFill>
                <a:latin typeface="Arial"/>
                <a:cs typeface="Arial"/>
              </a:rPr>
              <a:t>,</a:t>
            </a:r>
            <a:r>
              <a:rPr lang="en-US" sz="1400" baseline="30000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400" dirty="0">
                <a:solidFill>
                  <a:schemeClr val="bg1"/>
                </a:solidFill>
                <a:latin typeface="Arial"/>
                <a:cs typeface="Arial"/>
              </a:rPr>
              <a:t>J. E. Andrade</a:t>
            </a:r>
            <a:r>
              <a:rPr lang="en-US" sz="1400" baseline="30000" dirty="0">
                <a:solidFill>
                  <a:schemeClr val="bg1"/>
                </a:solidFill>
                <a:latin typeface="Arial"/>
                <a:cs typeface="Arial"/>
              </a:rPr>
              <a:t>2</a:t>
            </a:r>
            <a:r>
              <a:rPr lang="en-US" sz="1400" dirty="0">
                <a:solidFill>
                  <a:schemeClr val="bg1"/>
                </a:solidFill>
                <a:latin typeface="Arial"/>
                <a:cs typeface="Arial"/>
              </a:rPr>
              <a:t>, P. C. Adell</a:t>
            </a:r>
            <a:r>
              <a:rPr lang="en-US" sz="1400" baseline="30000" dirty="0">
                <a:solidFill>
                  <a:schemeClr val="bg1"/>
                </a:solidFill>
                <a:latin typeface="Arial"/>
                <a:cs typeface="Arial"/>
              </a:rPr>
              <a:t>1</a:t>
            </a:r>
            <a:r>
              <a:rPr lang="en-US" sz="1400" dirty="0">
                <a:solidFill>
                  <a:schemeClr val="bg1"/>
                </a:solidFill>
                <a:latin typeface="Arial"/>
                <a:cs typeface="Arial"/>
              </a:rPr>
              <a:t>, </a:t>
            </a:r>
          </a:p>
          <a:p>
            <a:pPr>
              <a:spcBef>
                <a:spcPts val="0"/>
              </a:spcBef>
            </a:pPr>
            <a:r>
              <a:rPr lang="en-US" sz="1400" dirty="0">
                <a:solidFill>
                  <a:schemeClr val="bg1"/>
                </a:solidFill>
                <a:latin typeface="Arial"/>
                <a:cs typeface="Arial"/>
              </a:rPr>
              <a:t>R. B. Amini</a:t>
            </a:r>
            <a:r>
              <a:rPr lang="en-US" sz="1400" baseline="30000" dirty="0">
                <a:solidFill>
                  <a:schemeClr val="bg1"/>
                </a:solidFill>
                <a:latin typeface="Arial"/>
                <a:cs typeface="Arial"/>
              </a:rPr>
              <a:t>1</a:t>
            </a:r>
            <a:r>
              <a:rPr lang="en-US" sz="1400" dirty="0">
                <a:solidFill>
                  <a:schemeClr val="bg1"/>
                </a:solidFill>
                <a:latin typeface="Arial"/>
                <a:cs typeface="Arial"/>
              </a:rPr>
              <a:t>, S. Bhaskaran</a:t>
            </a:r>
            <a:r>
              <a:rPr lang="en-US" sz="1400" baseline="30000" dirty="0">
                <a:solidFill>
                  <a:schemeClr val="bg1"/>
                </a:solidFill>
                <a:latin typeface="Arial"/>
                <a:cs typeface="Arial"/>
              </a:rPr>
              <a:t>1</a:t>
            </a:r>
            <a:r>
              <a:rPr lang="en-US" sz="1400" dirty="0">
                <a:solidFill>
                  <a:schemeClr val="bg1"/>
                </a:solidFill>
                <a:latin typeface="Arial"/>
                <a:cs typeface="Arial"/>
              </a:rPr>
              <a:t>, A. B. Chmielewski</a:t>
            </a:r>
            <a:r>
              <a:rPr lang="en-US" sz="1400" baseline="30000" dirty="0">
                <a:solidFill>
                  <a:schemeClr val="bg1"/>
                </a:solidFill>
                <a:latin typeface="Arial"/>
                <a:cs typeface="Arial"/>
              </a:rPr>
              <a:t>1</a:t>
            </a:r>
            <a:r>
              <a:rPr lang="en-US" sz="1400" dirty="0">
                <a:solidFill>
                  <a:schemeClr val="bg1"/>
                </a:solidFill>
                <a:latin typeface="Arial"/>
                <a:cs typeface="Arial"/>
              </a:rPr>
              <a:t>, </a:t>
            </a:r>
          </a:p>
          <a:p>
            <a:pPr>
              <a:spcBef>
                <a:spcPts val="0"/>
              </a:spcBef>
            </a:pPr>
            <a:r>
              <a:rPr lang="en-US" sz="1400" dirty="0">
                <a:solidFill>
                  <a:schemeClr val="bg1"/>
                </a:solidFill>
                <a:latin typeface="Arial"/>
                <a:cs typeface="Arial"/>
              </a:rPr>
              <a:t>A. E. Daca</a:t>
            </a:r>
            <a:r>
              <a:rPr lang="en-US" sz="1400" baseline="30000" dirty="0">
                <a:solidFill>
                  <a:schemeClr val="bg1"/>
                </a:solidFill>
                <a:latin typeface="Arial"/>
                <a:cs typeface="Arial"/>
              </a:rPr>
              <a:t>1</a:t>
            </a:r>
            <a:r>
              <a:rPr lang="en-US" sz="1400" dirty="0">
                <a:solidFill>
                  <a:schemeClr val="bg1"/>
                </a:solidFill>
                <a:latin typeface="Arial"/>
                <a:cs typeface="Arial"/>
              </a:rPr>
              <a:t>, C. Elachi</a:t>
            </a:r>
            <a:r>
              <a:rPr lang="en-US" sz="1400" baseline="30000" dirty="0">
                <a:solidFill>
                  <a:schemeClr val="bg1"/>
                </a:solidFill>
                <a:latin typeface="Arial"/>
                <a:cs typeface="Arial"/>
              </a:rPr>
              <a:t>2</a:t>
            </a:r>
            <a:r>
              <a:rPr lang="en-US" sz="1400" dirty="0">
                <a:solidFill>
                  <a:schemeClr val="bg1"/>
                </a:solidFill>
                <a:latin typeface="Arial"/>
                <a:cs typeface="Arial"/>
              </a:rPr>
              <a:t>, L. M. Fesq</a:t>
            </a:r>
            <a:r>
              <a:rPr lang="en-US" sz="1400" baseline="30000" dirty="0">
                <a:solidFill>
                  <a:schemeClr val="bg1"/>
                </a:solidFill>
                <a:latin typeface="Arial"/>
                <a:cs typeface="Arial"/>
              </a:rPr>
              <a:t>1</a:t>
            </a:r>
            <a:r>
              <a:rPr lang="en-US" sz="1400" dirty="0">
                <a:solidFill>
                  <a:schemeClr val="bg1"/>
                </a:solidFill>
                <a:latin typeface="Arial"/>
                <a:cs typeface="Arial"/>
              </a:rPr>
              <a:t>, M. Haynes</a:t>
            </a:r>
            <a:r>
              <a:rPr lang="en-US" sz="1400" baseline="30000" dirty="0">
                <a:solidFill>
                  <a:schemeClr val="bg1"/>
                </a:solidFill>
                <a:latin typeface="Arial"/>
                <a:cs typeface="Arial"/>
              </a:rPr>
              <a:t>1</a:t>
            </a:r>
            <a:r>
              <a:rPr lang="en-US" sz="1400" dirty="0">
                <a:solidFill>
                  <a:schemeClr val="bg1"/>
                </a:solidFill>
                <a:latin typeface="Arial"/>
                <a:cs typeface="Arial"/>
              </a:rPr>
              <a:t>, </a:t>
            </a:r>
          </a:p>
          <a:p>
            <a:pPr>
              <a:spcBef>
                <a:spcPts val="0"/>
              </a:spcBef>
            </a:pPr>
            <a:r>
              <a:rPr lang="en-US" sz="1400" dirty="0">
                <a:solidFill>
                  <a:schemeClr val="bg1"/>
                </a:solidFill>
                <a:latin typeface="Arial"/>
                <a:cs typeface="Arial"/>
              </a:rPr>
              <a:t>A. Herique</a:t>
            </a:r>
            <a:r>
              <a:rPr lang="en-US" sz="1400" baseline="30000" dirty="0">
                <a:solidFill>
                  <a:schemeClr val="bg1"/>
                </a:solidFill>
                <a:latin typeface="Arial"/>
                <a:cs typeface="Arial"/>
              </a:rPr>
              <a:t>3</a:t>
            </a:r>
            <a:r>
              <a:rPr lang="en-US" sz="1400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endParaRPr lang="en-US" sz="1400" baseline="30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ubtitle 6">
            <a:extLst>
              <a:ext uri="{FF2B5EF4-FFF2-40B4-BE49-F238E27FC236}">
                <a16:creationId xmlns:a16="http://schemas.microsoft.com/office/drawing/2014/main" id="{167B0113-D388-D040-976E-4642ABD47E8F}"/>
              </a:ext>
            </a:extLst>
          </p:cNvPr>
          <p:cNvSpPr txBox="1">
            <a:spLocks/>
          </p:cNvSpPr>
          <p:nvPr/>
        </p:nvSpPr>
        <p:spPr>
          <a:xfrm>
            <a:off x="-14050" y="4486653"/>
            <a:ext cx="7232145" cy="415341"/>
          </a:xfrm>
          <a:prstGeom prst="rect">
            <a:avLst/>
          </a:prstGeom>
        </p:spPr>
        <p:txBody>
          <a:bodyPr/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/>
            <a:r>
              <a:rPr lang="en-US" sz="14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AA Planetary Defense Conference, Stellenbosch, </a:t>
            </a:r>
            <a:r>
              <a:rPr lang="en-US" sz="1400" dirty="0" err="1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petown</a:t>
            </a:r>
            <a:r>
              <a:rPr lang="en-US" sz="14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outh Africa, 5-9 May 2025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24B94E1-3EDA-E0AE-0637-616E85845153}"/>
              </a:ext>
            </a:extLst>
          </p:cNvPr>
          <p:cNvSpPr txBox="1"/>
          <p:nvPr/>
        </p:nvSpPr>
        <p:spPr>
          <a:xfrm>
            <a:off x="4952999" y="3280833"/>
            <a:ext cx="4074583" cy="86177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  <a:cs typeface="Calibri"/>
              </a:rPr>
              <a:t>1. Jet Propulsion Laboratory, California Institute of Technology, 4800 Oak Grove Dr., Pasadena, CA 91109</a:t>
            </a:r>
          </a:p>
          <a:p>
            <a:r>
              <a:rPr lang="en-US" sz="1000" dirty="0">
                <a:solidFill>
                  <a:schemeClr val="bg1"/>
                </a:solidFill>
                <a:cs typeface="Calibri"/>
              </a:rPr>
              <a:t>2. California Institute of Technology, 1200 E California Blvd M/C 104-44, Pasadena, CA 91125</a:t>
            </a:r>
          </a:p>
          <a:p>
            <a:r>
              <a:rPr lang="en-US" sz="1000" dirty="0">
                <a:solidFill>
                  <a:schemeClr val="bg1"/>
                </a:solidFill>
                <a:cs typeface="Calibri"/>
              </a:rPr>
              <a:t>3. Univ. Grenoble Alpes, CNRS, CNES, IPAG, Grenoble, Franc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58B3B41-9958-42DD-C46D-B05A7DE724F5}"/>
              </a:ext>
            </a:extLst>
          </p:cNvPr>
          <p:cNvSpPr txBox="1"/>
          <p:nvPr/>
        </p:nvSpPr>
        <p:spPr>
          <a:xfrm>
            <a:off x="7776" y="4724336"/>
            <a:ext cx="36635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 pitchFamily="34" charset="-128"/>
                <a:cs typeface="+mn-cs"/>
              </a:rPr>
              <a:t>© 2025 California Institute of Technolog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 pitchFamily="34" charset="-128"/>
                <a:cs typeface="+mn-cs"/>
              </a:rPr>
              <a:t>Government sponsorship acknowledged.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4" descr="Logo&#10;&#10;AI-generated content may be incorrect.">
            <a:extLst>
              <a:ext uri="{FF2B5EF4-FFF2-40B4-BE49-F238E27FC236}">
                <a16:creationId xmlns:a16="http://schemas.microsoft.com/office/drawing/2014/main" id="{461E0EED-0750-2621-A63A-6DE1ABF4FE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7522" y="241507"/>
            <a:ext cx="863126" cy="863126"/>
          </a:xfrm>
          <a:prstGeom prst="rect">
            <a:avLst/>
          </a:prstGeom>
        </p:spPr>
      </p:pic>
      <p:pic>
        <p:nvPicPr>
          <p:cNvPr id="11" name="Picture 10" descr="A picture containing text, clock&#10;&#10;AI-generated content may be incorrect.">
            <a:extLst>
              <a:ext uri="{FF2B5EF4-FFF2-40B4-BE49-F238E27FC236}">
                <a16:creationId xmlns:a16="http://schemas.microsoft.com/office/drawing/2014/main" id="{58B0671A-78CE-B16F-666F-B9C6AE3D40A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78759" y="330899"/>
            <a:ext cx="1153123" cy="518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66505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lack and white logo&#10;&#10;Description automatically generated">
            <a:extLst>
              <a:ext uri="{FF2B5EF4-FFF2-40B4-BE49-F238E27FC236}">
                <a16:creationId xmlns:a16="http://schemas.microsoft.com/office/drawing/2014/main" id="{F2C45693-E20B-316F-937A-A037CAEFDC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75391" y="2313974"/>
            <a:ext cx="5139809" cy="1427725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5A941E-FB64-DD8F-24E2-6DA7B5DC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B68D16-0CE2-A544-AAE1-DE70B06D704F}" type="slidenum">
              <a:rPr lang="en-US" smtClean="0"/>
              <a:t>10</a:t>
            </a:fld>
            <a:endParaRPr lang="en-US"/>
          </a:p>
        </p:txBody>
      </p:sp>
      <p:pic>
        <p:nvPicPr>
          <p:cNvPr id="2" name="Picture 1" descr="Logo&#10;&#10;AI-generated content may be incorrect.">
            <a:extLst>
              <a:ext uri="{FF2B5EF4-FFF2-40B4-BE49-F238E27FC236}">
                <a16:creationId xmlns:a16="http://schemas.microsoft.com/office/drawing/2014/main" id="{3E6D1DF7-8656-930B-E321-2E9F95E8BB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3317" y="1406243"/>
            <a:ext cx="863126" cy="863126"/>
          </a:xfrm>
          <a:prstGeom prst="rect">
            <a:avLst/>
          </a:prstGeom>
        </p:spPr>
      </p:pic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1C549D80-358A-8816-C9ED-F9C1A0A8555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71260" y="1488688"/>
            <a:ext cx="1825417" cy="780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3406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BCA1E8-5A96-AD94-3A92-B5D041A7BF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>
                <a:solidFill>
                  <a:srgbClr val="28ABE3"/>
                </a:solidFill>
              </a:rPr>
              <a:t>Referen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2E970B-B325-3A24-BC59-73D6ACE29D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5281" y="1464415"/>
            <a:ext cx="7886700" cy="2815552"/>
          </a:xfrm>
        </p:spPr>
        <p:txBody>
          <a:bodyPr/>
          <a:lstStyle/>
          <a:p>
            <a:pPr marL="103505" indent="-103505" defTabSz="155448">
              <a:lnSpc>
                <a:spcPct val="100000"/>
              </a:lnSpc>
              <a:spcBef>
                <a:spcPts val="0"/>
              </a:spcBef>
              <a:defRPr sz="2108">
                <a:solidFill>
                  <a:srgbClr val="222222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1100" dirty="0">
                <a:solidFill>
                  <a:schemeClr val="bg1"/>
                </a:solidFill>
              </a:rPr>
              <a:t>Asphaug, Erik, et al. "Disruption of </a:t>
            </a:r>
            <a:r>
              <a:rPr lang="en-US" sz="1100" dirty="0" err="1">
                <a:solidFill>
                  <a:schemeClr val="bg1"/>
                </a:solidFill>
              </a:rPr>
              <a:t>kilometre</a:t>
            </a:r>
            <a:r>
              <a:rPr lang="en-US" sz="1100" dirty="0">
                <a:solidFill>
                  <a:schemeClr val="bg1"/>
                </a:solidFill>
              </a:rPr>
              <a:t>-sized asteroids by energetic collisions." </a:t>
            </a:r>
            <a:r>
              <a:rPr lang="en-US" sz="1100" i="1" dirty="0">
                <a:solidFill>
                  <a:schemeClr val="bg1"/>
                </a:solidFill>
              </a:rPr>
              <a:t>Nature</a:t>
            </a:r>
            <a:r>
              <a:rPr lang="en-US" sz="1100" dirty="0">
                <a:solidFill>
                  <a:schemeClr val="bg1"/>
                </a:solidFill>
              </a:rPr>
              <a:t> 393.6684 (1998): 437-440.</a:t>
            </a:r>
          </a:p>
          <a:p>
            <a:pPr marL="103505" indent="-103505" defTabSz="155448">
              <a:lnSpc>
                <a:spcPct val="100000"/>
              </a:lnSpc>
              <a:spcBef>
                <a:spcPts val="0"/>
              </a:spcBef>
              <a:defRPr sz="2108">
                <a:solidFill>
                  <a:srgbClr val="222222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1100" dirty="0">
                <a:solidFill>
                  <a:schemeClr val="bg1"/>
                </a:solidFill>
              </a:rPr>
              <a:t>DeMartini, Joseph V., et al. "Using a discrete element method to investigate seismic response and spin change of 99942 Apophis during its 2029 tidal encounter with Earth." </a:t>
            </a:r>
            <a:r>
              <a:rPr lang="en-US" sz="1100" i="1" dirty="0">
                <a:solidFill>
                  <a:schemeClr val="bg1"/>
                </a:solidFill>
              </a:rPr>
              <a:t>Icarus</a:t>
            </a:r>
            <a:r>
              <a:rPr lang="en-US" sz="1100" dirty="0">
                <a:solidFill>
                  <a:schemeClr val="bg1"/>
                </a:solidFill>
              </a:rPr>
              <a:t> 328 (2019): 93-103.</a:t>
            </a:r>
          </a:p>
          <a:p>
            <a:pPr marL="103505" indent="-103505" defTabSz="155448">
              <a:lnSpc>
                <a:spcPct val="100000"/>
              </a:lnSpc>
              <a:spcBef>
                <a:spcPts val="0"/>
              </a:spcBef>
              <a:defRPr sz="2108">
                <a:solidFill>
                  <a:srgbClr val="222222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1100" dirty="0" err="1">
                <a:solidFill>
                  <a:schemeClr val="bg1"/>
                </a:solidFill>
              </a:rPr>
              <a:t>Hirabayashi</a:t>
            </a:r>
            <a:r>
              <a:rPr lang="en-US" sz="1100" dirty="0">
                <a:solidFill>
                  <a:schemeClr val="bg1"/>
                </a:solidFill>
              </a:rPr>
              <a:t>, M., Y. Kim, and M. </a:t>
            </a:r>
            <a:r>
              <a:rPr lang="en-US" sz="1100" dirty="0" err="1">
                <a:solidFill>
                  <a:schemeClr val="bg1"/>
                </a:solidFill>
              </a:rPr>
              <a:t>Brozović</a:t>
            </a:r>
            <a:r>
              <a:rPr lang="en-US" sz="1100" dirty="0">
                <a:solidFill>
                  <a:schemeClr val="bg1"/>
                </a:solidFill>
              </a:rPr>
              <a:t>. "Finite element modeling to characterize the stress evolution in asteroid (99942) Apophis during the 2029 Earth encounter." </a:t>
            </a:r>
            <a:r>
              <a:rPr lang="en-US" sz="1100" i="1" dirty="0">
                <a:solidFill>
                  <a:schemeClr val="bg1"/>
                </a:solidFill>
              </a:rPr>
              <a:t>Icarus</a:t>
            </a:r>
            <a:r>
              <a:rPr lang="en-US" sz="1100" dirty="0">
                <a:solidFill>
                  <a:schemeClr val="bg1"/>
                </a:solidFill>
              </a:rPr>
              <a:t> 365 (2021): 114493.</a:t>
            </a:r>
          </a:p>
          <a:p>
            <a:pPr marL="103505" indent="-103505" defTabSz="155448">
              <a:lnSpc>
                <a:spcPct val="100000"/>
              </a:lnSpc>
              <a:spcBef>
                <a:spcPts val="0"/>
              </a:spcBef>
              <a:defRPr sz="2108">
                <a:solidFill>
                  <a:srgbClr val="222222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1100" dirty="0">
                <a:solidFill>
                  <a:schemeClr val="bg1"/>
                </a:solidFill>
              </a:rPr>
              <a:t>Kim, Yaeji, et al. "Tidal resurfacing model for (99942) Apophis during the 2029 close approach with Earth." </a:t>
            </a:r>
            <a:r>
              <a:rPr lang="en-US" sz="1100" i="1" dirty="0">
                <a:solidFill>
                  <a:schemeClr val="bg1"/>
                </a:solidFill>
              </a:rPr>
              <a:t>Monthly Notices of the Royal Astronomical Society</a:t>
            </a:r>
            <a:r>
              <a:rPr lang="en-US" sz="1100" dirty="0">
                <a:solidFill>
                  <a:schemeClr val="bg1"/>
                </a:solidFill>
              </a:rPr>
              <a:t> 520.3 (2023): 3405-3415.</a:t>
            </a:r>
          </a:p>
          <a:p>
            <a:pPr marL="103505" indent="-103505" defTabSz="155448">
              <a:lnSpc>
                <a:spcPct val="100000"/>
              </a:lnSpc>
              <a:spcBef>
                <a:spcPts val="0"/>
              </a:spcBef>
              <a:defRPr sz="2108">
                <a:solidFill>
                  <a:srgbClr val="222222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1100" dirty="0">
                <a:solidFill>
                  <a:schemeClr val="bg1"/>
                </a:solidFill>
              </a:rPr>
              <a:t>Valvano, Giulia, et al. "APOPHIS–effects of the 2029 Earth’s encounter on the surface and nearby dynamics." </a:t>
            </a:r>
            <a:r>
              <a:rPr lang="en-US" sz="1100" i="1" dirty="0">
                <a:solidFill>
                  <a:schemeClr val="bg1"/>
                </a:solidFill>
              </a:rPr>
              <a:t>Monthly Notices of the Royal Astronomical Society</a:t>
            </a:r>
            <a:r>
              <a:rPr lang="en-US" sz="1100" dirty="0">
                <a:solidFill>
                  <a:schemeClr val="bg1"/>
                </a:solidFill>
              </a:rPr>
              <a:t> 510.1 (2022): 95-109.</a:t>
            </a:r>
          </a:p>
          <a:p>
            <a:pPr marL="103505" indent="-103505" defTabSz="155448">
              <a:lnSpc>
                <a:spcPct val="100000"/>
              </a:lnSpc>
              <a:spcBef>
                <a:spcPts val="0"/>
              </a:spcBef>
              <a:defRPr sz="2108">
                <a:solidFill>
                  <a:srgbClr val="222222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1100" dirty="0">
                <a:solidFill>
                  <a:schemeClr val="bg1"/>
                </a:solidFill>
              </a:rPr>
              <a:t>Yu, Yang, et al. "Numerical predictions of surface effects during the 2029 close approach of asteroid 99942 Apophis." </a:t>
            </a:r>
            <a:r>
              <a:rPr lang="en-US" sz="1100" i="1" dirty="0">
                <a:solidFill>
                  <a:schemeClr val="bg1"/>
                </a:solidFill>
              </a:rPr>
              <a:t>Icarus</a:t>
            </a:r>
            <a:r>
              <a:rPr lang="en-US" sz="1100" dirty="0">
                <a:solidFill>
                  <a:schemeClr val="bg1"/>
                </a:solidFill>
              </a:rPr>
              <a:t> 242 (2014): 82-96.</a:t>
            </a:r>
          </a:p>
          <a:p>
            <a:endParaRPr lang="en-US" sz="700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3EB814-32CA-54CE-319E-CA006360C1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B68D16-0CE2-A544-AAE1-DE70B06D704F}" type="slidenum">
              <a:rPr lang="en-US" smtClean="0"/>
              <a:t>11</a:t>
            </a:fld>
            <a:endParaRPr lang="en-US"/>
          </a:p>
        </p:txBody>
      </p: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64D7933B-58E2-F55A-6990-F16E6EEF0A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01945" y="4661092"/>
            <a:ext cx="1299028" cy="555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36782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C8C465E-FAA4-D730-4F12-73108545E062}"/>
              </a:ext>
            </a:extLst>
          </p:cNvPr>
          <p:cNvSpPr/>
          <p:nvPr/>
        </p:nvSpPr>
        <p:spPr>
          <a:xfrm>
            <a:off x="4572000" y="3121779"/>
            <a:ext cx="4287328" cy="973048"/>
          </a:xfrm>
          <a:prstGeom prst="rect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ctr" defTabSz="685800">
              <a:spcBef>
                <a:spcPts val="0"/>
              </a:spcBef>
              <a:defRPr/>
            </a:pPr>
            <a:r>
              <a:rPr lang="en-US" sz="1600" dirty="0">
                <a:solidFill>
                  <a:schemeClr val="bg1"/>
                </a:solidFill>
                <a:latin typeface="Arial"/>
                <a:cs typeface="Arial"/>
              </a:rPr>
              <a:t>Pre- and post-encounter observations yield unique insights into how a small body responds to tidal forc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C9AE423-975F-5C47-B935-720BD98CF20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5771" y="60190"/>
            <a:ext cx="5327083" cy="3010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51F656C-9D14-7940-9005-BEB2621AA5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567" y="151018"/>
            <a:ext cx="4474731" cy="994172"/>
          </a:xfrm>
        </p:spPr>
        <p:txBody>
          <a:bodyPr>
            <a:normAutofit/>
          </a:bodyPr>
          <a:lstStyle/>
          <a:p>
            <a:r>
              <a:rPr lang="en-US" b="1">
                <a:solidFill>
                  <a:srgbClr val="00B0F0"/>
                </a:solidFill>
                <a:cs typeface="Arial" panose="020B0604020202020204" pitchFamily="34" charset="0"/>
              </a:rPr>
              <a:t>Why Apophis?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617BE9B-6006-CC43-BA24-0DA24973A4FB}"/>
              </a:ext>
            </a:extLst>
          </p:cNvPr>
          <p:cNvSpPr txBox="1">
            <a:spLocks/>
          </p:cNvSpPr>
          <p:nvPr/>
        </p:nvSpPr>
        <p:spPr>
          <a:xfrm>
            <a:off x="4728962" y="2454900"/>
            <a:ext cx="3973404" cy="486633"/>
          </a:xfrm>
          <a:prstGeom prst="rect">
            <a:avLst/>
          </a:prstGeom>
        </p:spPr>
        <p:txBody>
          <a:bodyPr vert="horz" lIns="68580" tIns="34290" rIns="68580" bIns="3429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800">
              <a:spcBef>
                <a:spcPts val="750"/>
              </a:spcBef>
              <a:buNone/>
              <a:defRPr/>
            </a:pPr>
            <a:r>
              <a:rPr lang="en-US" sz="1350" b="1" dirty="0">
                <a:solidFill>
                  <a:schemeClr val="bg1"/>
                </a:solidFill>
                <a:latin typeface="Arial"/>
                <a:cs typeface="Arial"/>
              </a:rPr>
              <a:t>The Apophis flyby creates unique opportunities:</a:t>
            </a:r>
            <a:endParaRPr lang="en-US" sz="1350" dirty="0">
              <a:solidFill>
                <a:schemeClr val="bg1"/>
              </a:solidFill>
              <a:latin typeface="Arial"/>
              <a:cs typeface="Arial"/>
            </a:endParaRPr>
          </a:p>
          <a:p>
            <a:pPr marL="177165" indent="-177165" defTabSz="685800">
              <a:spcBef>
                <a:spcPts val="0"/>
              </a:spcBef>
              <a:buNone/>
              <a:defRPr/>
            </a:pPr>
            <a:endParaRPr lang="en-US" sz="788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defTabSz="685800">
              <a:spcBef>
                <a:spcPts val="0"/>
              </a:spcBef>
              <a:defRPr/>
            </a:pPr>
            <a:endParaRPr lang="en-US" sz="15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defTabSz="685800">
              <a:spcBef>
                <a:spcPts val="0"/>
              </a:spcBef>
              <a:buNone/>
              <a:defRPr/>
            </a:pPr>
            <a:endParaRPr lang="en-US" sz="825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8F7BE1E-68B2-19E7-2194-7119EB3DA7DB}"/>
              </a:ext>
            </a:extLst>
          </p:cNvPr>
          <p:cNvGrpSpPr/>
          <p:nvPr/>
        </p:nvGrpSpPr>
        <p:grpSpPr>
          <a:xfrm>
            <a:off x="268662" y="1508981"/>
            <a:ext cx="3988378" cy="2750428"/>
            <a:chOff x="495002" y="2158925"/>
            <a:chExt cx="5317837" cy="3667237"/>
          </a:xfrm>
        </p:grpSpPr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BED1118F-6BF1-5247-B4BF-6E3FCADD9AA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95002" y="2158925"/>
              <a:ext cx="5245517" cy="3667237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D97F0C1A-3CD3-3441-886F-EC98F44286C5}"/>
                </a:ext>
              </a:extLst>
            </p:cNvPr>
            <p:cNvSpPr txBox="1"/>
            <p:nvPr/>
          </p:nvSpPr>
          <p:spPr>
            <a:xfrm>
              <a:off x="928701" y="5268166"/>
              <a:ext cx="4884138" cy="3385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>
                <a:defRPr/>
              </a:pPr>
              <a:r>
                <a:rPr lang="en-US" sz="1050" b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pophis ground track below GEO altitude </a:t>
              </a: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451B716B-236A-0248-B34A-FFEBA0B15C98}"/>
              </a:ext>
            </a:extLst>
          </p:cNvPr>
          <p:cNvSpPr txBox="1"/>
          <p:nvPr/>
        </p:nvSpPr>
        <p:spPr>
          <a:xfrm>
            <a:off x="7957782" y="2294738"/>
            <a:ext cx="772969" cy="1615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en-US" sz="450">
                <a:solidFill>
                  <a:prstClr val="white"/>
                </a:solidFill>
                <a:latin typeface="Calibri" panose="020F0502020204030204"/>
              </a:rPr>
              <a:t>Credit: NASA/JPL-Caltech</a:t>
            </a:r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B5D3DE3B-F75D-CEAE-7CD9-C9F0FED11F9E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7707265" y="4811213"/>
            <a:ext cx="586130" cy="272097"/>
          </a:xfrm>
        </p:spPr>
        <p:txBody>
          <a:bodyPr/>
          <a:lstStyle/>
          <a:p>
            <a:pPr algn="l"/>
            <a:fld id="{00000000-1234-1234-1234-123412341234}" type="slidenum">
              <a:rPr lang="en-US" sz="10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 algn="l"/>
              <a:t>2</a:t>
            </a:fld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14" name="Picture 13" descr="A close up of a logo&#10;&#10;Description automatically generated">
            <a:extLst>
              <a:ext uri="{FF2B5EF4-FFF2-40B4-BE49-F238E27FC236}">
                <a16:creationId xmlns:a16="http://schemas.microsoft.com/office/drawing/2014/main" id="{7139FF10-2E72-E6BB-E148-BCE2D4DB3FD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43826" y="4588444"/>
            <a:ext cx="1299028" cy="555559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89523C-9FDA-9045-A05E-5AAEFB6433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0383" y="846574"/>
            <a:ext cx="4463990" cy="482786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ophis (~340m) will pass within GEO distance from Earth in 2029 – a once-in-7-millenia event</a:t>
            </a:r>
            <a:endParaRPr lang="en-US" sz="75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83EE83C-F6AA-6F7C-9B87-D5ACC559439E}"/>
              </a:ext>
            </a:extLst>
          </p:cNvPr>
          <p:cNvSpPr txBox="1"/>
          <p:nvPr/>
        </p:nvSpPr>
        <p:spPr>
          <a:xfrm>
            <a:off x="2445683" y="4870356"/>
            <a:ext cx="4915740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00" dirty="0">
                <a:solidFill>
                  <a:schemeClr val="bg1">
                    <a:lumMod val="65000"/>
                  </a:schemeClr>
                </a:solidFill>
                <a:cs typeface="Calibri"/>
              </a:rPr>
              <a:t>Pre-decisional Information – For Planning and Discussion Purposes Only</a:t>
            </a:r>
          </a:p>
        </p:txBody>
      </p:sp>
    </p:spTree>
    <p:extLst>
      <p:ext uri="{BB962C8B-B14F-4D97-AF65-F5344CB8AC3E}">
        <p14:creationId xmlns:p14="http://schemas.microsoft.com/office/powerpoint/2010/main" val="3219994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645A9A8-0E7C-7BC1-A8F0-5DE48287D7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5D9D3972-6C44-7F81-4CC0-FB11594ECD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25281" y="4168549"/>
            <a:ext cx="1399934" cy="598714"/>
          </a:xfrm>
          <a:prstGeom prst="rect">
            <a:avLst/>
          </a:prstGeo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331DFD4-38D9-876A-B48D-432E5FF979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B68D16-0CE2-A544-AAE1-DE70B06D704F}" type="slidenum">
              <a:rPr lang="en-US" smtClean="0"/>
              <a:t>3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AD34B5F-C277-7521-3A43-0D6B8C2E5D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567" y="151018"/>
            <a:ext cx="6028383" cy="994172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rgbClr val="00B0F0"/>
                </a:solidFill>
                <a:cs typeface="Arial" panose="020B0604020202020204" pitchFamily="34" charset="0"/>
              </a:rPr>
              <a:t>Caltech Mission to Apophis</a:t>
            </a:r>
          </a:p>
        </p:txBody>
      </p:sp>
      <p:pic>
        <p:nvPicPr>
          <p:cNvPr id="10" name="Picture 9" descr="A black and white logo&#10;&#10;Description automatically generated">
            <a:extLst>
              <a:ext uri="{FF2B5EF4-FFF2-40B4-BE49-F238E27FC236}">
                <a16:creationId xmlns:a16="http://schemas.microsoft.com/office/drawing/2014/main" id="{CE31B9E6-67D3-FBCA-FB81-238488E006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88629" y="4580821"/>
            <a:ext cx="2155371" cy="598714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580D86F3-4717-B831-14AC-094EBA2CCD1A}"/>
              </a:ext>
            </a:extLst>
          </p:cNvPr>
          <p:cNvSpPr txBox="1">
            <a:spLocks/>
          </p:cNvSpPr>
          <p:nvPr/>
        </p:nvSpPr>
        <p:spPr>
          <a:xfrm>
            <a:off x="6853768" y="4786340"/>
            <a:ext cx="586130" cy="27209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000000-1234-1234-1234-123412341234}" type="slidenum">
              <a:rPr lang="en-US" sz="10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3</a:t>
            </a:fld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3E8B713-C584-2876-9F54-F833D17CCA9D}"/>
              </a:ext>
            </a:extLst>
          </p:cNvPr>
          <p:cNvSpPr txBox="1"/>
          <p:nvPr/>
        </p:nvSpPr>
        <p:spPr>
          <a:xfrm>
            <a:off x="0" y="4866154"/>
            <a:ext cx="5104839" cy="53091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00" dirty="0">
                <a:solidFill>
                  <a:schemeClr val="bg1">
                    <a:lumMod val="65000"/>
                  </a:schemeClr>
                </a:solidFill>
                <a:cs typeface="Calibri"/>
              </a:rPr>
              <a:t>Pre-decisional Information – For Planning and Discussion Purposes Only</a:t>
            </a:r>
          </a:p>
          <a:p>
            <a:pPr algn="l"/>
            <a:endParaRPr lang="en-US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248443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F8525CE8-B674-E54D-B6E9-6912F6451837}"/>
              </a:ext>
            </a:extLst>
          </p:cNvPr>
          <p:cNvGraphicFramePr>
            <a:graphicFrameLocks noGrp="1"/>
          </p:cNvGraphicFramePr>
          <p:nvPr/>
        </p:nvGraphicFramePr>
        <p:xfrm>
          <a:off x="181617" y="799194"/>
          <a:ext cx="5186761" cy="40748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74185">
                  <a:extLst>
                    <a:ext uri="{9D8B030D-6E8A-4147-A177-3AD203B41FA5}">
                      <a16:colId xmlns:a16="http://schemas.microsoft.com/office/drawing/2014/main" val="2040572022"/>
                    </a:ext>
                  </a:extLst>
                </a:gridCol>
                <a:gridCol w="2193833">
                  <a:extLst>
                    <a:ext uri="{9D8B030D-6E8A-4147-A177-3AD203B41FA5}">
                      <a16:colId xmlns:a16="http://schemas.microsoft.com/office/drawing/2014/main" val="504358033"/>
                    </a:ext>
                  </a:extLst>
                </a:gridCol>
                <a:gridCol w="1618743">
                  <a:extLst>
                    <a:ext uri="{9D8B030D-6E8A-4147-A177-3AD203B41FA5}">
                      <a16:colId xmlns:a16="http://schemas.microsoft.com/office/drawing/2014/main" val="1017394773"/>
                    </a:ext>
                  </a:extLst>
                </a:gridCol>
              </a:tblGrid>
              <a:tr h="364061">
                <a:tc>
                  <a:txBody>
                    <a:bodyPr/>
                    <a:lstStyle/>
                    <a:p>
                      <a:pPr algn="ctr"/>
                      <a:r>
                        <a:rPr lang="en-US" sz="1200" b="1" i="0">
                          <a:latin typeface="Arial Black" panose="020B0604020202020204" pitchFamily="34" charset="0"/>
                          <a:cs typeface="Arial Black" panose="020B0604020202020204" pitchFamily="34" charset="0"/>
                        </a:rPr>
                        <a:t>Goals:</a:t>
                      </a:r>
                    </a:p>
                  </a:txBody>
                  <a:tcPr marL="67484" marR="67484" marT="33742" marB="33742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i="0">
                          <a:latin typeface="Arial Black" panose="020B0604020202020204" pitchFamily="34" charset="0"/>
                          <a:cs typeface="Arial Black" panose="020B0604020202020204" pitchFamily="34" charset="0"/>
                        </a:rPr>
                        <a:t>Objectives:</a:t>
                      </a:r>
                    </a:p>
                  </a:txBody>
                  <a:tcPr marL="33742" marR="33742" marT="33742" marB="33742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i="0">
                          <a:latin typeface="Arial Black" panose="020B0604020202020204" pitchFamily="34" charset="0"/>
                          <a:cs typeface="Arial Black" panose="020B0604020202020204" pitchFamily="34" charset="0"/>
                        </a:rPr>
                        <a:t>Key Measurements:</a:t>
                      </a:r>
                    </a:p>
                  </a:txBody>
                  <a:tcPr marL="35816" marR="35816" marT="35816" marB="3581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8850914"/>
                  </a:ext>
                </a:extLst>
              </a:tr>
              <a:tr h="708660">
                <a:tc rowSpan="2">
                  <a:txBody>
                    <a:bodyPr/>
                    <a:lstStyle/>
                    <a:p>
                      <a:r>
                        <a:rPr lang="en-US" sz="1100" b="1" i="0">
                          <a:solidFill>
                            <a:schemeClr val="bg1">
                              <a:lumMod val="95000"/>
                            </a:schemeClr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Arial Narrow" panose="020B0604020202020204" pitchFamily="34" charset="0"/>
                          <a:cs typeface="Arial Narrow" panose="020B0604020202020204" pitchFamily="34" charset="0"/>
                        </a:rPr>
                        <a:t>Understand the interior structure of a rubble pile asteroid, and implications for its formation, evolution, and response to a mitigation attempt</a:t>
                      </a:r>
                    </a:p>
                  </a:txBody>
                  <a:tcPr marL="68580" marR="68580" marT="34290" marB="3429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>
                        <a:lumMod val="60000"/>
                        <a:lumOff val="4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1" i="0" kern="1200">
                          <a:solidFill>
                            <a:schemeClr val="bg1">
                              <a:lumMod val="95000"/>
                            </a:schemeClr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Arial Narrow" panose="020B0604020202020204" pitchFamily="34" charset="0"/>
                          <a:ea typeface="+mn-ea"/>
                          <a:cs typeface="Arial Narrow" panose="020B0604020202020204" pitchFamily="34" charset="0"/>
                        </a:rPr>
                        <a:t>Determine the shape, bulk density, and bulk porosity of Apophis to constrain its interior structure and mechanical properties.</a:t>
                      </a:r>
                    </a:p>
                  </a:txBody>
                  <a:tcPr marL="68580" marR="68580" marT="34290" marB="3429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i="0" kern="1200">
                          <a:solidFill>
                            <a:schemeClr val="bg1">
                              <a:lumMod val="95000"/>
                            </a:schemeClr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Arial Narrow" panose="020B0604020202020204" pitchFamily="34" charset="0"/>
                          <a:ea typeface="+mn-ea"/>
                          <a:cs typeface="Arial Narrow" panose="020B0604020202020204" pitchFamily="34" charset="0"/>
                        </a:rPr>
                        <a:t>Global shape and gravity models</a:t>
                      </a:r>
                    </a:p>
                  </a:txBody>
                  <a:tcPr marL="35816" marR="35816" marT="35816" marB="3581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3571254"/>
                  </a:ext>
                </a:extLst>
              </a:tr>
              <a:tr h="823752">
                <a:tc vMerge="1">
                  <a:txBody>
                    <a:bodyPr/>
                    <a:lstStyle/>
                    <a:p>
                      <a:endParaRPr lang="en-US" sz="1400" b="0" i="0">
                        <a:latin typeface="Arial Narrow" panose="020B0604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r>
                        <a:rPr lang="en-US" sz="1100" b="1" i="0">
                          <a:solidFill>
                            <a:schemeClr val="bg1">
                              <a:lumMod val="95000"/>
                            </a:schemeClr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Arial Narrow" panose="020B0604020202020204" pitchFamily="34" charset="0"/>
                          <a:cs typeface="Arial Narrow" panose="020B0604020202020204" pitchFamily="34" charset="0"/>
                        </a:rPr>
                        <a:t>Determine the internal block size distribution, composition, porosity, and geometric arrangement</a:t>
                      </a:r>
                    </a:p>
                  </a:txBody>
                  <a:tcPr marL="68580" marR="68580" marT="34290" marB="34290"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i="0">
                          <a:solidFill>
                            <a:schemeClr val="bg1">
                              <a:lumMod val="95000"/>
                            </a:schemeClr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Arial Narrow" panose="020B0604020202020204" pitchFamily="34" charset="0"/>
                          <a:cs typeface="Arial Narrow" panose="020B0604020202020204" pitchFamily="34" charset="0"/>
                        </a:rPr>
                        <a:t>Monostatic and bistatic radar observations</a:t>
                      </a:r>
                    </a:p>
                  </a:txBody>
                  <a:tcPr marL="35816" marR="35816" marT="35816" marB="3581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208275"/>
                  </a:ext>
                </a:extLst>
              </a:tr>
              <a:tr h="823752">
                <a:tc rowSpan="3">
                  <a:txBody>
                    <a:bodyPr/>
                    <a:lstStyle/>
                    <a:p>
                      <a:r>
                        <a:rPr lang="en-US" sz="1100" b="1" i="0">
                          <a:solidFill>
                            <a:schemeClr val="bg1">
                              <a:lumMod val="95000"/>
                            </a:schemeClr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Arial Narrow" panose="020B0604020202020204" pitchFamily="34" charset="0"/>
                          <a:cs typeface="Arial Narrow" panose="020B0604020202020204" pitchFamily="34" charset="0"/>
                        </a:rPr>
                        <a:t>Understand how close planetary flybys affect asteroids, to understand how asteroids are resurfaced and respond to impulsive events (like deflection attempts)</a:t>
                      </a:r>
                    </a:p>
                  </a:txBody>
                  <a:tcPr marL="68580" marR="68580" marT="34290" marB="3429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5CAECF">
                        <a:alpha val="6993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1" i="0">
                          <a:solidFill>
                            <a:schemeClr val="bg1">
                              <a:lumMod val="95000"/>
                            </a:schemeClr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Arial Narrow" panose="020B0604020202020204" pitchFamily="34" charset="0"/>
                          <a:cs typeface="Arial Narrow" panose="020B0604020202020204" pitchFamily="34" charset="0"/>
                        </a:rPr>
                        <a:t>Determine cohesive strength by observing material movement on the surface of Apophis during the Earth flyby</a:t>
                      </a:r>
                    </a:p>
                  </a:txBody>
                  <a:tcPr marL="68580" marR="68580" marT="34290" marB="34290"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CAECF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i="0">
                          <a:solidFill>
                            <a:schemeClr val="bg1">
                              <a:lumMod val="95000"/>
                            </a:schemeClr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Arial Narrow" panose="020B0604020202020204" pitchFamily="34" charset="0"/>
                          <a:cs typeface="Arial Narrow" panose="020B0604020202020204" pitchFamily="34" charset="0"/>
                        </a:rPr>
                        <a:t>Images of the surface of Apophis </a:t>
                      </a:r>
                      <a:r>
                        <a:rPr lang="en-US" sz="1100" b="1" i="0" u="sng">
                          <a:solidFill>
                            <a:schemeClr val="bg1">
                              <a:lumMod val="95000"/>
                            </a:schemeClr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Arial Narrow" panose="020B0604020202020204" pitchFamily="34" charset="0"/>
                          <a:cs typeface="Arial Narrow" panose="020B0604020202020204" pitchFamily="34" charset="0"/>
                        </a:rPr>
                        <a:t>before and after </a:t>
                      </a:r>
                      <a:r>
                        <a:rPr lang="en-US" sz="1100" b="1" i="0">
                          <a:solidFill>
                            <a:schemeClr val="bg1">
                              <a:lumMod val="95000"/>
                            </a:schemeClr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Arial Narrow" panose="020B0604020202020204" pitchFamily="34" charset="0"/>
                          <a:cs typeface="Arial Narrow" panose="020B0604020202020204" pitchFamily="34" charset="0"/>
                        </a:rPr>
                        <a:t>the Earth encounter</a:t>
                      </a:r>
                    </a:p>
                  </a:txBody>
                  <a:tcPr marL="35816" marR="35816" marT="35816" marB="3581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CAECF">
                        <a:alpha val="5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4708586"/>
                  </a:ext>
                </a:extLst>
              </a:tr>
              <a:tr h="752648">
                <a:tc vMerge="1">
                  <a:txBody>
                    <a:bodyPr/>
                    <a:lstStyle/>
                    <a:p>
                      <a:endParaRPr lang="en-US" sz="1400" b="0" i="0">
                        <a:latin typeface="Arial Narrow" panose="020B0604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marL="45720" marR="4572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1" i="0">
                          <a:solidFill>
                            <a:schemeClr val="bg1">
                              <a:lumMod val="95000"/>
                            </a:schemeClr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Arial Narrow" panose="020B0604020202020204" pitchFamily="34" charset="0"/>
                          <a:cs typeface="Arial Narrow" panose="020B0604020202020204" pitchFamily="34" charset="0"/>
                        </a:rPr>
                        <a:t>Determine how the spin-state of Apophis changes during the Earth flyby</a:t>
                      </a:r>
                    </a:p>
                  </a:txBody>
                  <a:tcPr marL="68580" marR="68580" marT="34290" marB="3429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CAEC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i="0">
                          <a:solidFill>
                            <a:schemeClr val="bg1">
                              <a:lumMod val="95000"/>
                            </a:schemeClr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Arial Narrow" panose="020B0604020202020204" pitchFamily="34" charset="0"/>
                          <a:cs typeface="Arial Narrow" panose="020B0604020202020204" pitchFamily="34" charset="0"/>
                        </a:rPr>
                        <a:t>Measurements of Apophis’s spin state </a:t>
                      </a:r>
                      <a:r>
                        <a:rPr lang="en-US" sz="1100" b="1" i="0" u="sng">
                          <a:solidFill>
                            <a:schemeClr val="bg1">
                              <a:lumMod val="95000"/>
                            </a:schemeClr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Arial Narrow" panose="020B0604020202020204" pitchFamily="34" charset="0"/>
                          <a:cs typeface="Arial Narrow" panose="020B0604020202020204" pitchFamily="34" charset="0"/>
                        </a:rPr>
                        <a:t>before and after</a:t>
                      </a:r>
                      <a:r>
                        <a:rPr lang="en-US" sz="1100" b="1" i="0" u="none">
                          <a:solidFill>
                            <a:schemeClr val="bg1">
                              <a:lumMod val="95000"/>
                            </a:schemeClr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Arial Narrow" panose="020B0604020202020204" pitchFamily="34" charset="0"/>
                          <a:cs typeface="Arial Narrow" panose="020B0604020202020204" pitchFamily="34" charset="0"/>
                        </a:rPr>
                        <a:t> </a:t>
                      </a:r>
                      <a:r>
                        <a:rPr lang="en-US" sz="1100" b="1" i="0">
                          <a:solidFill>
                            <a:schemeClr val="bg1">
                              <a:lumMod val="95000"/>
                            </a:schemeClr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Arial Narrow" panose="020B0604020202020204" pitchFamily="34" charset="0"/>
                          <a:cs typeface="Arial Narrow" panose="020B0604020202020204" pitchFamily="34" charset="0"/>
                        </a:rPr>
                        <a:t>the Earth encounter</a:t>
                      </a:r>
                    </a:p>
                  </a:txBody>
                  <a:tcPr marL="35816" marR="35816" marT="35816" marB="3581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CAEC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0570692"/>
                  </a:ext>
                </a:extLst>
              </a:tr>
              <a:tr h="548640">
                <a:tc vMerge="1">
                  <a:txBody>
                    <a:bodyPr/>
                    <a:lstStyle/>
                    <a:p>
                      <a:endParaRPr lang="en-US" sz="1400" b="0" i="0">
                        <a:latin typeface="Arial Narrow" panose="020B0604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r>
                        <a:rPr lang="en-US" sz="1100" b="1" i="0">
                          <a:solidFill>
                            <a:schemeClr val="bg1">
                              <a:lumMod val="95000"/>
                            </a:schemeClr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Arial Narrow" panose="020B0604020202020204" pitchFamily="34" charset="0"/>
                          <a:cs typeface="Arial Narrow" panose="020B0604020202020204" pitchFamily="34" charset="0"/>
                        </a:rPr>
                        <a:t>Put asteroids into human context by taking simultaneous resolved images of the Earth and Apophis</a:t>
                      </a:r>
                    </a:p>
                  </a:txBody>
                  <a:tcPr marL="68580" marR="68580" marT="34290" marB="3429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CAECF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i="0">
                          <a:solidFill>
                            <a:schemeClr val="bg1">
                              <a:lumMod val="95000"/>
                            </a:schemeClr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Arial Narrow" panose="020B0604020202020204" pitchFamily="34" charset="0"/>
                          <a:cs typeface="Arial Narrow" panose="020B0604020202020204" pitchFamily="34" charset="0"/>
                        </a:rPr>
                        <a:t>Images of Apophis </a:t>
                      </a:r>
                      <a:r>
                        <a:rPr lang="en-US" sz="1100" b="1" i="0" u="sng">
                          <a:solidFill>
                            <a:schemeClr val="bg1">
                              <a:lumMod val="95000"/>
                            </a:schemeClr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Arial Narrow" panose="020B0604020202020204" pitchFamily="34" charset="0"/>
                          <a:cs typeface="Arial Narrow" panose="020B0604020202020204" pitchFamily="34" charset="0"/>
                        </a:rPr>
                        <a:t>during</a:t>
                      </a:r>
                      <a:r>
                        <a:rPr lang="en-US" sz="1100" b="1" i="0">
                          <a:solidFill>
                            <a:schemeClr val="bg1">
                              <a:lumMod val="95000"/>
                            </a:schemeClr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Arial Narrow" panose="020B0604020202020204" pitchFamily="34" charset="0"/>
                          <a:cs typeface="Arial Narrow" panose="020B0604020202020204" pitchFamily="34" charset="0"/>
                        </a:rPr>
                        <a:t> the Earth encounter</a:t>
                      </a:r>
                    </a:p>
                  </a:txBody>
                  <a:tcPr marL="35816" marR="35816" marT="35816" marB="3581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CAECF">
                        <a:alpha val="2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5465513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6119F3C6-15E8-3045-99B2-C9FE1E4F250D}"/>
              </a:ext>
            </a:extLst>
          </p:cNvPr>
          <p:cNvSpPr txBox="1"/>
          <p:nvPr/>
        </p:nvSpPr>
        <p:spPr>
          <a:xfrm>
            <a:off x="7624329" y="2762983"/>
            <a:ext cx="1479343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>
              <a:defRPr/>
            </a:pPr>
            <a:r>
              <a:rPr lang="en-US" sz="1050" b="1" i="1">
                <a:solidFill>
                  <a:schemeClr val="bg1">
                    <a:lumMod val="9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Predicted changes in Apophis’s surface slope during the Earth encounter</a:t>
            </a:r>
            <a:r>
              <a:rPr lang="en-US" sz="1050" b="1">
                <a:solidFill>
                  <a:schemeClr val="bg1">
                    <a:lumMod val="9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en-US" sz="1050">
                <a:solidFill>
                  <a:schemeClr val="bg1">
                    <a:lumMod val="9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(Valvano et al. 2021)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94B2A7C-0919-C842-8085-13E1FBA10FA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37452" y="1126677"/>
            <a:ext cx="2151242" cy="121568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4F17DDE-C707-E440-8901-F97F088D2CD7}"/>
              </a:ext>
            </a:extLst>
          </p:cNvPr>
          <p:cNvSpPr txBox="1"/>
          <p:nvPr/>
        </p:nvSpPr>
        <p:spPr>
          <a:xfrm>
            <a:off x="7833337" y="1400712"/>
            <a:ext cx="1270335" cy="80791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685800">
              <a:defRPr/>
            </a:pPr>
            <a:r>
              <a:rPr lang="en-US" sz="1050" b="1" i="1">
                <a:solidFill>
                  <a:schemeClr val="bg1">
                    <a:lumMod val="95000"/>
                  </a:schemeClr>
                </a:solidFill>
                <a:latin typeface="Arial Narrow"/>
                <a:cs typeface="Arial Narrow" panose="020B0604020202020204" pitchFamily="34" charset="0"/>
              </a:rPr>
              <a:t>Simulations of regolith pile shapes on Apophis before and after the Earth encounter</a:t>
            </a:r>
            <a:r>
              <a:rPr lang="en-US" sz="1050" b="1">
                <a:solidFill>
                  <a:schemeClr val="bg1">
                    <a:lumMod val="95000"/>
                  </a:schemeClr>
                </a:solidFill>
                <a:latin typeface="Arial Narrow"/>
                <a:cs typeface="Arial Narrow" panose="020B0604020202020204" pitchFamily="34" charset="0"/>
              </a:rPr>
              <a:t> </a:t>
            </a:r>
            <a:r>
              <a:rPr lang="en-US" sz="1050">
                <a:solidFill>
                  <a:schemeClr val="bg1">
                    <a:lumMod val="95000"/>
                  </a:schemeClr>
                </a:solidFill>
                <a:latin typeface="Arial Narrow"/>
                <a:cs typeface="Arial Narrow" panose="020B0604020202020204" pitchFamily="34" charset="0"/>
              </a:rPr>
              <a:t>(Yu et al. 2014)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0288BC7-1836-8646-8EDB-66C13865B326}"/>
              </a:ext>
            </a:extLst>
          </p:cNvPr>
          <p:cNvGrpSpPr/>
          <p:nvPr/>
        </p:nvGrpSpPr>
        <p:grpSpPr>
          <a:xfrm>
            <a:off x="5505140" y="115086"/>
            <a:ext cx="2415866" cy="883628"/>
            <a:chOff x="7354765" y="835200"/>
            <a:chExt cx="3221155" cy="1178170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929662B5-9DD2-5C48-9627-E91508BFD9D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54765" y="835200"/>
              <a:ext cx="1693780" cy="1178170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6CE1FDBE-0D12-1448-8525-28A2FC7D7A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882140" y="835200"/>
              <a:ext cx="1693780" cy="1178170"/>
            </a:xfrm>
            <a:prstGeom prst="rect">
              <a:avLst/>
            </a:prstGeom>
          </p:spPr>
        </p:pic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40A71DA8-DF3E-6D4C-A68F-0DC28C503304}"/>
              </a:ext>
            </a:extLst>
          </p:cNvPr>
          <p:cNvSpPr txBox="1"/>
          <p:nvPr/>
        </p:nvSpPr>
        <p:spPr>
          <a:xfrm>
            <a:off x="8031773" y="216052"/>
            <a:ext cx="1112227" cy="8079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>
              <a:defRPr/>
            </a:pPr>
            <a:r>
              <a:rPr lang="en-US" sz="1050" b="1" i="1">
                <a:solidFill>
                  <a:schemeClr val="bg1">
                    <a:lumMod val="9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Schematic diagram of possible interior structures for small asteroid</a:t>
            </a:r>
            <a:r>
              <a:rPr lang="en-US" sz="1050" i="1">
                <a:solidFill>
                  <a:schemeClr val="bg1">
                    <a:lumMod val="9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en-US" sz="1050">
                <a:solidFill>
                  <a:schemeClr val="bg1">
                    <a:lumMod val="9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(Asphaug et al. 1999)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446321D-721B-9C45-86DA-C3001755617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75235" y="3814858"/>
            <a:ext cx="1671638" cy="1238616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1D4173AE-BDF0-5715-59EB-84DDBF28D092}"/>
              </a:ext>
            </a:extLst>
          </p:cNvPr>
          <p:cNvGrpSpPr/>
          <p:nvPr/>
        </p:nvGrpSpPr>
        <p:grpSpPr>
          <a:xfrm>
            <a:off x="5875399" y="2497486"/>
            <a:ext cx="1592201" cy="1206782"/>
            <a:chOff x="7757838" y="3355285"/>
            <a:chExt cx="2122934" cy="1609043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57F63A0-E6F3-1EDD-5879-493C80D89693}"/>
                </a:ext>
              </a:extLst>
            </p:cNvPr>
            <p:cNvSpPr/>
            <p:nvPr/>
          </p:nvSpPr>
          <p:spPr>
            <a:xfrm>
              <a:off x="7757838" y="3355285"/>
              <a:ext cx="2122934" cy="160904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DC20C584-C3B0-FE42-8F6F-FBB785ED3C0D}"/>
                </a:ext>
              </a:extLst>
            </p:cNvPr>
            <p:cNvGrpSpPr/>
            <p:nvPr/>
          </p:nvGrpSpPr>
          <p:grpSpPr>
            <a:xfrm>
              <a:off x="7757838" y="3355285"/>
              <a:ext cx="2122934" cy="1609043"/>
              <a:chOff x="8080958" y="4570898"/>
              <a:chExt cx="2122934" cy="1609043"/>
            </a:xfrm>
          </p:grpSpPr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A303F104-4EB4-D246-BD2A-B67089891F2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8080958" y="4570898"/>
                <a:ext cx="1863560" cy="1487189"/>
              </a:xfrm>
              <a:prstGeom prst="rect">
                <a:avLst/>
              </a:prstGeom>
            </p:spPr>
          </p:pic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E24877DF-2354-4A44-8BB3-EEC8181D9816}"/>
                  </a:ext>
                </a:extLst>
              </p:cNvPr>
              <p:cNvSpPr/>
              <p:nvPr/>
            </p:nvSpPr>
            <p:spPr>
              <a:xfrm>
                <a:off x="8792308" y="5833266"/>
                <a:ext cx="430823" cy="21101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en-US" sz="1350">
                  <a:solidFill>
                    <a:srgbClr val="FFFFFF"/>
                  </a:solidFill>
                  <a:latin typeface="Arial"/>
                </a:endParaRPr>
              </a:p>
            </p:txBody>
          </p:sp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8FFCA35E-F3D2-784F-A7DC-911C638421F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8634045" y="5700020"/>
                <a:ext cx="1569847" cy="479921"/>
              </a:xfrm>
              <a:prstGeom prst="rect">
                <a:avLst/>
              </a:prstGeom>
            </p:spPr>
          </p:pic>
        </p:grp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15086190-1877-2542-B6BE-EF77727CF761}"/>
              </a:ext>
            </a:extLst>
          </p:cNvPr>
          <p:cNvSpPr txBox="1"/>
          <p:nvPr/>
        </p:nvSpPr>
        <p:spPr>
          <a:xfrm>
            <a:off x="7694973" y="3994910"/>
            <a:ext cx="1338054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>
              <a:defRPr/>
            </a:pPr>
            <a:r>
              <a:rPr lang="en-US" sz="1050" b="1" i="1">
                <a:solidFill>
                  <a:schemeClr val="bg1">
                    <a:lumMod val="9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Model of surface stresses on Apophis during the Earth encounter</a:t>
            </a:r>
            <a:r>
              <a:rPr lang="en-US" sz="1050" i="1">
                <a:solidFill>
                  <a:schemeClr val="bg1">
                    <a:lumMod val="9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en-US" sz="1050">
                <a:solidFill>
                  <a:schemeClr val="bg1">
                    <a:lumMod val="9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(</a:t>
            </a:r>
            <a:r>
              <a:rPr lang="en-US" sz="1050" err="1">
                <a:solidFill>
                  <a:schemeClr val="bg1">
                    <a:lumMod val="9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Hirabayashi</a:t>
            </a:r>
            <a:r>
              <a:rPr lang="en-US" sz="1050">
                <a:solidFill>
                  <a:schemeClr val="bg1">
                    <a:lumMod val="9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et al. 2021)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FDDB358-6B65-78AE-BEFA-062A6DB22147}"/>
              </a:ext>
            </a:extLst>
          </p:cNvPr>
          <p:cNvSpPr/>
          <p:nvPr/>
        </p:nvSpPr>
        <p:spPr>
          <a:xfrm>
            <a:off x="3669477" y="694706"/>
            <a:ext cx="1782225" cy="427511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3B19E8C-622E-4A03-F2D1-E02DCB9FD86D}"/>
              </a:ext>
            </a:extLst>
          </p:cNvPr>
          <p:cNvSpPr txBox="1">
            <a:spLocks/>
          </p:cNvSpPr>
          <p:nvPr/>
        </p:nvSpPr>
        <p:spPr>
          <a:xfrm>
            <a:off x="261831" y="77210"/>
            <a:ext cx="6028383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b="1">
                <a:solidFill>
                  <a:srgbClr val="00B0F0"/>
                </a:solidFill>
                <a:cs typeface="Arial" panose="020B0604020202020204" pitchFamily="34" charset="0"/>
              </a:rPr>
              <a:t>Characterizing Apophis </a:t>
            </a:r>
          </a:p>
        </p:txBody>
      </p:sp>
      <p:sp>
        <p:nvSpPr>
          <p:cNvPr id="26" name="Slide Number Placeholder 6">
            <a:extLst>
              <a:ext uri="{FF2B5EF4-FFF2-40B4-BE49-F238E27FC236}">
                <a16:creationId xmlns:a16="http://schemas.microsoft.com/office/drawing/2014/main" id="{1FC7C6B5-77B5-CF19-64BC-631103376783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7707265" y="4811213"/>
            <a:ext cx="586130" cy="272097"/>
          </a:xfrm>
        </p:spPr>
        <p:txBody>
          <a:bodyPr anchor="t"/>
          <a:lstStyle/>
          <a:p>
            <a:pPr algn="l"/>
            <a:fld id="{00000000-1234-1234-1234-123412341234}" type="slidenum">
              <a:rPr lang="en-US" sz="10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pPr algn="l"/>
              <a:t>4</a:t>
            </a:fld>
            <a:endParaRPr lang="en-US" sz="100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pic>
        <p:nvPicPr>
          <p:cNvPr id="27" name="Picture 26" descr="A close up of a logo&#10;&#10;Description automatically generated">
            <a:extLst>
              <a:ext uri="{FF2B5EF4-FFF2-40B4-BE49-F238E27FC236}">
                <a16:creationId xmlns:a16="http://schemas.microsoft.com/office/drawing/2014/main" id="{EC9CD2DD-A99A-8B78-B9A5-D7120C4381E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01945" y="4661092"/>
            <a:ext cx="1299028" cy="55555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F508312-DB76-F01E-BFCE-CD69E86D69C5}"/>
              </a:ext>
            </a:extLst>
          </p:cNvPr>
          <p:cNvSpPr txBox="1"/>
          <p:nvPr/>
        </p:nvSpPr>
        <p:spPr>
          <a:xfrm>
            <a:off x="180694" y="4895569"/>
            <a:ext cx="4020670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00" dirty="0">
                <a:solidFill>
                  <a:srgbClr val="A6A6A6"/>
                </a:solidFill>
                <a:cs typeface="Calibri"/>
              </a:rPr>
              <a:t>Pre-decisional Information – For Planning and Discussion Purposes On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03067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Vector 74" descr="preencoded.png"/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267953" y="3041653"/>
            <a:ext cx="8445500" cy="2702"/>
          </a:xfrm>
          <a:prstGeom prst="rect">
            <a:avLst/>
          </a:prstGeom>
        </p:spPr>
      </p:pic>
      <p:pic>
        <p:nvPicPr>
          <p:cNvPr id="3" name="Vector 82" descr="preencoded.png"/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267953" y="4697172"/>
            <a:ext cx="8445500" cy="2702"/>
          </a:xfrm>
          <a:prstGeom prst="rect">
            <a:avLst/>
          </a:prstGeom>
        </p:spPr>
      </p:pic>
      <p:pic>
        <p:nvPicPr>
          <p:cNvPr id="4" name="Vector 76" descr="preencoded.png"/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267953" y="1442577"/>
            <a:ext cx="8445500" cy="2702"/>
          </a:xfrm>
          <a:prstGeom prst="rect">
            <a:avLst/>
          </a:prstGeom>
        </p:spPr>
      </p:pic>
      <p:pic>
        <p:nvPicPr>
          <p:cNvPr id="5" name="Vector 77" descr="preencoded.png"/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2576215" y="2255949"/>
            <a:ext cx="6135688" cy="2702"/>
          </a:xfrm>
          <a:prstGeom prst="rect">
            <a:avLst/>
          </a:prstGeom>
        </p:spPr>
      </p:pic>
      <p:pic>
        <p:nvPicPr>
          <p:cNvPr id="6" name="Vector 80" descr="preencoded.png"/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2576215" y="3848193"/>
            <a:ext cx="6135688" cy="2702"/>
          </a:xfrm>
          <a:prstGeom prst="rect">
            <a:avLst/>
          </a:prstGeom>
        </p:spPr>
      </p:pic>
      <p:pic>
        <p:nvPicPr>
          <p:cNvPr id="7" name="Vector 81" descr="preencoded.png"/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2576215" y="4255990"/>
            <a:ext cx="3849688" cy="2702"/>
          </a:xfrm>
          <a:prstGeom prst="rect">
            <a:avLst/>
          </a:prstGeom>
        </p:spPr>
      </p:pic>
      <p:pic>
        <p:nvPicPr>
          <p:cNvPr id="8" name="Vector 79" descr="preencoded.png"/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4411483" y="2635782"/>
            <a:ext cx="1936750" cy="2702"/>
          </a:xfrm>
          <a:prstGeom prst="rect">
            <a:avLst/>
          </a:prstGeom>
        </p:spPr>
      </p:pic>
      <p:pic>
        <p:nvPicPr>
          <p:cNvPr id="9" name="Vector 78" descr="preencoded.png"/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4411483" y="1890898"/>
            <a:ext cx="4302125" cy="2702"/>
          </a:xfrm>
          <a:prstGeom prst="rect">
            <a:avLst/>
          </a:prstGeom>
        </p:spPr>
      </p:pic>
      <p:pic>
        <p:nvPicPr>
          <p:cNvPr id="10" name="Vector 83" descr="preencoded.png"/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4411483" y="3337763"/>
            <a:ext cx="1936750" cy="2702"/>
          </a:xfrm>
          <a:prstGeom prst="rect">
            <a:avLst/>
          </a:prstGeom>
        </p:spPr>
      </p:pic>
      <p:pic>
        <p:nvPicPr>
          <p:cNvPr id="11" name="Vector 84" descr="preencoded.png"/>
          <p:cNvPicPr>
            <a:picLocks noChangeAspect="1"/>
          </p:cNvPicPr>
          <p:nvPr/>
        </p:nvPicPr>
        <p:blipFill>
          <a:blip r:embed="rId11"/>
          <a:srcRect/>
          <a:stretch/>
        </p:blipFill>
        <p:spPr>
          <a:xfrm>
            <a:off x="4411483" y="3517853"/>
            <a:ext cx="1936750" cy="2702"/>
          </a:xfrm>
          <a:prstGeom prst="rect">
            <a:avLst/>
          </a:prstGeom>
        </p:spPr>
      </p:pic>
      <p:pic>
        <p:nvPicPr>
          <p:cNvPr id="12" name="Group 333" descr="preencoded.png"/>
          <p:cNvPicPr>
            <a:picLocks noChangeAspect="1"/>
          </p:cNvPicPr>
          <p:nvPr/>
        </p:nvPicPr>
        <p:blipFill>
          <a:blip r:embed="rId12"/>
          <a:srcRect/>
          <a:stretch/>
        </p:blipFill>
        <p:spPr>
          <a:xfrm>
            <a:off x="37704" y="241001"/>
            <a:ext cx="9032875" cy="5064125"/>
          </a:xfrm>
          <a:prstGeom prst="rect">
            <a:avLst/>
          </a:prstGeom>
        </p:spPr>
      </p:pic>
      <p:sp>
        <p:nvSpPr>
          <p:cNvPr id="13" name="Baseline Science Traceability Matrix"/>
          <p:cNvSpPr/>
          <p:nvPr/>
        </p:nvSpPr>
        <p:spPr>
          <a:xfrm>
            <a:off x="267953" y="466148"/>
            <a:ext cx="4357688" cy="32543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2547"/>
              </a:lnSpc>
            </a:pPr>
            <a:r>
              <a:rPr lang="en-US" sz="2185" dirty="0">
                <a:solidFill>
                  <a:srgbClr val="FFFFFF"/>
                </a:solidFill>
                <a:latin typeface="HelveticaNowText ExtraBold" pitchFamily="34" charset="0"/>
                <a:ea typeface="HelveticaNowText ExtraBold" pitchFamily="34" charset="-122"/>
                <a:cs typeface="HelveticaNowText ExtraBold" pitchFamily="34" charset="-120"/>
              </a:rPr>
              <a:t>Baseline Science </a:t>
            </a:r>
            <a:r>
              <a:rPr lang="en-US" sz="2185" dirty="0">
                <a:solidFill>
                  <a:srgbClr val="FFFFFF"/>
                </a:solidFill>
                <a:latin typeface="Helvetica Neue UltraLight" pitchFamily="34" charset="0"/>
                <a:ea typeface="Helvetica Neue UltraLight" pitchFamily="34" charset="-122"/>
                <a:cs typeface="Helvetica Neue UltraLight" pitchFamily="34" charset="-120"/>
              </a:rPr>
              <a:t>Traceability Matrix</a:t>
            </a:r>
            <a:endParaRPr lang="en-US" sz="2185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4" name="Understand the interior structure of a rubble pile asteroid and implications for its formation evolution and response to a mitigation attempt"/>
          <p:cNvSpPr/>
          <p:nvPr/>
        </p:nvSpPr>
        <p:spPr>
          <a:xfrm>
            <a:off x="871606" y="1654050"/>
            <a:ext cx="1478203" cy="81705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1250"/>
              </a:lnSpc>
              <a:spcAft>
                <a:spcPts val="199"/>
              </a:spcAft>
            </a:pPr>
            <a:r>
              <a:rPr lang="en-US" sz="1062" dirty="0">
                <a:solidFill>
                  <a:srgbClr val="33C8ED"/>
                </a:solidFill>
                <a:latin typeface="Helvetica Now Var Regular" pitchFamily="34" charset="0"/>
                <a:ea typeface="Helvetica Now Var Regular" pitchFamily="34" charset="-122"/>
                <a:cs typeface="Helvetica Now Var Regular" pitchFamily="34" charset="-120"/>
              </a:rPr>
              <a:t>Understand the interior structure of a rubble pile asteroid</a:t>
            </a:r>
            <a:r>
              <a:rPr lang="en-US" sz="1062" dirty="0">
                <a:solidFill>
                  <a:srgbClr val="FFFFFF"/>
                </a:solidFill>
                <a:latin typeface="Helvetica Now Var Regular" pitchFamily="34" charset="0"/>
                <a:ea typeface="Helvetica Now Var Regular" pitchFamily="34" charset="-122"/>
                <a:cs typeface="Helvetica Now Var Regular" pitchFamily="34" charset="-120"/>
              </a:rPr>
              <a:t> </a:t>
            </a:r>
            <a:r>
              <a:rPr lang="en-US" sz="1062" dirty="0">
                <a:solidFill>
                  <a:srgbClr val="FFFFFF"/>
                </a:solidFill>
                <a:latin typeface="Helvetica Now Var Text ExtraLight" pitchFamily="34" charset="0"/>
                <a:ea typeface="Helvetica Now Var Text ExtraLight" pitchFamily="34" charset="-122"/>
                <a:cs typeface="Helvetica Now Var Text ExtraLight" pitchFamily="34" charset="-120"/>
              </a:rPr>
              <a:t>and implications for its formation, evolution, and response to a mitigation attempt</a:t>
            </a:r>
            <a:endParaRPr lang="en-US" sz="1062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5" name="name_11 Determine the shape bulk density and bulk porosity of Apophis to constrain its interior structure and mechanical properties"/>
          <p:cNvSpPr/>
          <p:nvPr/>
        </p:nvSpPr>
        <p:spPr>
          <a:xfrm>
            <a:off x="2576215" y="1606426"/>
            <a:ext cx="1597116" cy="608649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875"/>
              </a:lnSpc>
              <a:spcAft>
                <a:spcPts val="199"/>
              </a:spcAft>
            </a:pPr>
            <a:r>
              <a:rPr lang="en-US" sz="750" dirty="0">
                <a:solidFill>
                  <a:srgbClr val="96C8D6"/>
                </a:solidFill>
                <a:latin typeface="Helvetica Now Var Regular" pitchFamily="34" charset="0"/>
                <a:ea typeface="Helvetica Now Var Regular" pitchFamily="34" charset="-122"/>
                <a:cs typeface="Helvetica Now Var Regular" pitchFamily="34" charset="-120"/>
              </a:rPr>
              <a:t>1.1.</a:t>
            </a:r>
            <a:r>
              <a:rPr lang="en-US" sz="750" dirty="0">
                <a:solidFill>
                  <a:srgbClr val="FFFFFF"/>
                </a:solidFill>
                <a:latin typeface="Helvetica Now Var Text Light" pitchFamily="34" charset="0"/>
                <a:ea typeface="Helvetica Now Var Text Light" pitchFamily="34" charset="-122"/>
                <a:cs typeface="Helvetica Now Var Text Light" pitchFamily="34" charset="-120"/>
              </a:rPr>
              <a:t> Determine the shape, bulk density, and bulk porosity of Apophis to constrain its interior structure and mechanical properties</a:t>
            </a:r>
            <a:endParaRPr lang="en-US" sz="7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6" name="Global shape model at 05 m spatial  elevation resolution"/>
          <p:cNvSpPr/>
          <p:nvPr/>
        </p:nvSpPr>
        <p:spPr>
          <a:xfrm>
            <a:off x="4411483" y="1606425"/>
            <a:ext cx="1841168" cy="2222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875"/>
              </a:lnSpc>
              <a:spcAft>
                <a:spcPts val="199"/>
              </a:spcAft>
            </a:pPr>
            <a:r>
              <a:rPr lang="en-US" sz="750" dirty="0">
                <a:solidFill>
                  <a:srgbClr val="FFFFFF"/>
                </a:solidFill>
                <a:latin typeface="Helvetica Now Var Text Light" pitchFamily="34" charset="0"/>
                <a:ea typeface="Helvetica Now Var Text Light" pitchFamily="34" charset="-122"/>
                <a:cs typeface="Helvetica Now Var Text Light" pitchFamily="34" charset="-120"/>
              </a:rPr>
              <a:t>Global </a:t>
            </a:r>
            <a:r>
              <a:rPr lang="en-US" sz="750" dirty="0">
                <a:solidFill>
                  <a:srgbClr val="CCCCCC"/>
                </a:solidFill>
                <a:latin typeface="Helvetica Now Var Text ExtraBold" pitchFamily="34" charset="0"/>
                <a:ea typeface="Helvetica Now Var Text ExtraBold" pitchFamily="34" charset="-122"/>
                <a:cs typeface="Helvetica Now Var Text ExtraBold" pitchFamily="34" charset="-120"/>
              </a:rPr>
              <a:t>shape model</a:t>
            </a:r>
            <a:r>
              <a:rPr lang="en-US" sz="750" dirty="0">
                <a:solidFill>
                  <a:srgbClr val="FFFFFF"/>
                </a:solidFill>
                <a:latin typeface="Helvetica Now Var Text Light" pitchFamily="34" charset="0"/>
                <a:ea typeface="Helvetica Now Var Text Light" pitchFamily="34" charset="-122"/>
                <a:cs typeface="Helvetica Now Var Text Light" pitchFamily="34" charset="-120"/>
              </a:rPr>
              <a:t> at &lt;0.5 m spatial &amp; elevation resolution</a:t>
            </a:r>
            <a:endParaRPr lang="en-US" sz="7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7" name="Camera 02 mpx res Apoph full-frame 20482 CCD IFOV 8-25 rad px-1 FOV 09-27  achieved at dist 25-9 km or 150-50 body radii"/>
          <p:cNvSpPr/>
          <p:nvPr/>
        </p:nvSpPr>
        <p:spPr>
          <a:xfrm>
            <a:off x="6512905" y="1480666"/>
            <a:ext cx="2241650" cy="3333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875"/>
              </a:lnSpc>
              <a:spcAft>
                <a:spcPts val="199"/>
              </a:spcAft>
            </a:pPr>
            <a:r>
              <a:rPr lang="en-US" sz="750" dirty="0">
                <a:solidFill>
                  <a:srgbClr val="E28D7C"/>
                </a:solidFill>
                <a:latin typeface="Helvetica Now Var Text ExtraBold" pitchFamily="34" charset="0"/>
                <a:ea typeface="Helvetica Now Var Text ExtraBold" pitchFamily="34" charset="-122"/>
                <a:cs typeface="Helvetica Now Var Text ExtraBold" pitchFamily="34" charset="-120"/>
              </a:rPr>
              <a:t>Camera:</a:t>
            </a:r>
            <a:r>
              <a:rPr lang="en-US" sz="750" dirty="0">
                <a:solidFill>
                  <a:srgbClr val="FFFFFF"/>
                </a:solidFill>
                <a:latin typeface="Helvetica Now Var Text Light" pitchFamily="34" charset="0"/>
                <a:ea typeface="Helvetica Now Var Text Light" pitchFamily="34" charset="-122"/>
                <a:cs typeface="Helvetica Now Var Text Light" pitchFamily="34" charset="-120"/>
              </a:rPr>
              <a:t> 0.2 m/px res, Apophis full-frame (20482 CCD, IFOV 8-25 μrad px-1, FOV 0.9°-2.7°) ⇒ achieved at dist. 25-9 km or 150-50 body radii</a:t>
            </a:r>
            <a:endParaRPr lang="en-US" sz="7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8" name="Radio science Doppler tracking"/>
          <p:cNvSpPr/>
          <p:nvPr/>
        </p:nvSpPr>
        <p:spPr>
          <a:xfrm>
            <a:off x="6512905" y="2011238"/>
            <a:ext cx="2176187" cy="1111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875"/>
              </a:lnSpc>
              <a:spcAft>
                <a:spcPts val="199"/>
              </a:spcAft>
            </a:pPr>
            <a:r>
              <a:rPr lang="en-US" sz="750" dirty="0">
                <a:solidFill>
                  <a:srgbClr val="E28D7C"/>
                </a:solidFill>
                <a:latin typeface="Helvetica Now Var Text ExtraBold" pitchFamily="34" charset="0"/>
                <a:ea typeface="Helvetica Now Var Text ExtraBold" pitchFamily="34" charset="-122"/>
                <a:cs typeface="Helvetica Now Var Text ExtraBold" pitchFamily="34" charset="-120"/>
              </a:rPr>
              <a:t>Radio science:</a:t>
            </a:r>
            <a:r>
              <a:rPr lang="en-US" sz="750" dirty="0">
                <a:solidFill>
                  <a:srgbClr val="FFFFFF"/>
                </a:solidFill>
                <a:latin typeface="Helvetica Now Var Text Light" pitchFamily="34" charset="0"/>
                <a:ea typeface="Helvetica Now Var Text Light" pitchFamily="34" charset="-122"/>
                <a:cs typeface="Helvetica Now Var Text Light" pitchFamily="34" charset="-120"/>
              </a:rPr>
              <a:t> Doppler tracking</a:t>
            </a:r>
            <a:endParaRPr lang="en-US" sz="7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9" name="Radar monostatic mode 3D SAR volumetric backscatter image 7m res 10 MHz bandwidth SNR  10 dB"/>
          <p:cNvSpPr/>
          <p:nvPr/>
        </p:nvSpPr>
        <p:spPr>
          <a:xfrm>
            <a:off x="6512906" y="2287883"/>
            <a:ext cx="2249134" cy="3333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875"/>
              </a:lnSpc>
              <a:spcAft>
                <a:spcPts val="199"/>
              </a:spcAft>
            </a:pPr>
            <a:r>
              <a:rPr lang="en-US" sz="750" dirty="0">
                <a:solidFill>
                  <a:srgbClr val="E28D7C"/>
                </a:solidFill>
                <a:latin typeface="Helvetica Now Var Text ExtraBold" pitchFamily="34" charset="0"/>
                <a:ea typeface="Helvetica Now Var Text ExtraBold" pitchFamily="34" charset="-122"/>
                <a:cs typeface="Helvetica Now Var Text ExtraBold" pitchFamily="34" charset="-120"/>
              </a:rPr>
              <a:t>Radar (monostatic mode):</a:t>
            </a:r>
            <a:r>
              <a:rPr lang="en-US" sz="750" dirty="0">
                <a:solidFill>
                  <a:srgbClr val="FFFFFF"/>
                </a:solidFill>
                <a:latin typeface="Helvetica Now Var Text Light" pitchFamily="34" charset="0"/>
                <a:ea typeface="Helvetica Now Var Text Light" pitchFamily="34" charset="-122"/>
                <a:cs typeface="Helvetica Now Var Text Light" pitchFamily="34" charset="-120"/>
              </a:rPr>
              <a:t> 3D SAR volumetric backscatter image (7m res, ≥10 MHz bandwidth, SNR ≥ 10 dB). </a:t>
            </a:r>
            <a:endParaRPr lang="en-US" sz="7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0" name="Radar bistatic mode transmission radar echoes 100 ns timing accuracy  precision SNR  10 dB"/>
          <p:cNvSpPr/>
          <p:nvPr/>
        </p:nvSpPr>
        <p:spPr>
          <a:xfrm>
            <a:off x="6512906" y="2699467"/>
            <a:ext cx="2249134" cy="3333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875"/>
              </a:lnSpc>
              <a:spcAft>
                <a:spcPts val="199"/>
              </a:spcAft>
            </a:pPr>
            <a:r>
              <a:rPr lang="en-US" sz="750" dirty="0">
                <a:solidFill>
                  <a:srgbClr val="E28D7C"/>
                </a:solidFill>
                <a:latin typeface="Helvetica Now Var Text ExtraBold" pitchFamily="34" charset="0"/>
                <a:ea typeface="Helvetica Now Var Text ExtraBold" pitchFamily="34" charset="-122"/>
                <a:cs typeface="Helvetica Now Var Text ExtraBold" pitchFamily="34" charset="-120"/>
              </a:rPr>
              <a:t>Radar (bistatic mode):</a:t>
            </a:r>
            <a:r>
              <a:rPr lang="en-US" sz="750" dirty="0">
                <a:solidFill>
                  <a:srgbClr val="FFFFFF"/>
                </a:solidFill>
                <a:latin typeface="Helvetica Now Var Text Light" pitchFamily="34" charset="0"/>
                <a:ea typeface="Helvetica Now Var Text Light" pitchFamily="34" charset="-122"/>
                <a:cs typeface="Helvetica Now Var Text Light" pitchFamily="34" charset="-120"/>
              </a:rPr>
              <a:t> transmission radar echoes (100 ns timing accuracy / precision, SNR ≥ 10 dB) </a:t>
            </a:r>
            <a:endParaRPr lang="en-US" sz="7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1" name="Camera Phase angle 0-90 5 resAt least two photometric filters ideally matching OSIRIS-APEX 001 m px-1 res from 13-04 km 75-25 body radii with specs above"/>
          <p:cNvSpPr/>
          <p:nvPr/>
        </p:nvSpPr>
        <p:spPr>
          <a:xfrm>
            <a:off x="6512905" y="3222637"/>
            <a:ext cx="2176187" cy="4445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875"/>
              </a:lnSpc>
              <a:spcAft>
                <a:spcPts val="199"/>
              </a:spcAft>
            </a:pPr>
            <a:r>
              <a:rPr lang="en-US" sz="750" dirty="0">
                <a:solidFill>
                  <a:srgbClr val="E28D7C"/>
                </a:solidFill>
                <a:latin typeface="Helvetica Now Var Text ExtraBold" pitchFamily="34" charset="0"/>
                <a:ea typeface="Helvetica Now Var Text ExtraBold" pitchFamily="34" charset="-122"/>
                <a:cs typeface="Helvetica Now Var Text ExtraBold" pitchFamily="34" charset="-120"/>
              </a:rPr>
              <a:t>Camera: </a:t>
            </a:r>
            <a:r>
              <a:rPr lang="en-US" sz="750" dirty="0">
                <a:solidFill>
                  <a:srgbClr val="FFFFFF"/>
                </a:solidFill>
                <a:latin typeface="Helvetica Now Var Text Light" pitchFamily="34" charset="0"/>
                <a:ea typeface="Helvetica Now Var Text Light" pitchFamily="34" charset="-122"/>
                <a:cs typeface="Helvetica Now Var Text Light" pitchFamily="34" charset="-120"/>
              </a:rPr>
              <a:t>Phase angle 0°-90°, 5° res.</a:t>
            </a:r>
            <a:br>
              <a:rPr sz="1500">
                <a:solidFill>
                  <a:prstClr val="black"/>
                </a:solidFill>
                <a:latin typeface="Calibri" panose="020F0502020204030204"/>
              </a:rPr>
            </a:br>
            <a:r>
              <a:rPr lang="en-US" sz="750" dirty="0">
                <a:solidFill>
                  <a:srgbClr val="FFFFFF"/>
                </a:solidFill>
                <a:latin typeface="Helvetica Now Var Text Light" pitchFamily="34" charset="0"/>
                <a:ea typeface="Helvetica Now Var Text Light" pitchFamily="34" charset="-122"/>
                <a:cs typeface="Helvetica Now Var Text Light" pitchFamily="34" charset="-120"/>
              </a:rPr>
              <a:t>At least two photometric filters (ideally matching OSIRIS-APEX). 0.01 m px-1 res from 1.3-0.4 km (7.5-2.5 body radii, with specs above)</a:t>
            </a:r>
            <a:endParaRPr lang="en-US" sz="7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2" name="Camera imaging before during and after encounter"/>
          <p:cNvSpPr/>
          <p:nvPr/>
        </p:nvSpPr>
        <p:spPr>
          <a:xfrm>
            <a:off x="6512905" y="3914749"/>
            <a:ext cx="1910816" cy="2222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875"/>
              </a:lnSpc>
              <a:spcAft>
                <a:spcPts val="199"/>
              </a:spcAft>
            </a:pPr>
            <a:r>
              <a:rPr lang="en-US" sz="750" dirty="0">
                <a:solidFill>
                  <a:srgbClr val="E28D7C"/>
                </a:solidFill>
                <a:latin typeface="Helvetica Now Var Text ExtraBold" pitchFamily="34" charset="0"/>
                <a:ea typeface="Helvetica Now Var Text ExtraBold" pitchFamily="34" charset="-122"/>
                <a:cs typeface="Helvetica Now Var Text ExtraBold" pitchFamily="34" charset="-120"/>
              </a:rPr>
              <a:t>Camera:</a:t>
            </a:r>
            <a:r>
              <a:rPr lang="en-US" sz="750" dirty="0">
                <a:solidFill>
                  <a:srgbClr val="FFFFFF"/>
                </a:solidFill>
                <a:latin typeface="Helvetica Now Var Text Light" pitchFamily="34" charset="0"/>
                <a:ea typeface="Helvetica Now Var Text Light" pitchFamily="34" charset="-122"/>
                <a:cs typeface="Helvetica Now Var Text Light" pitchFamily="34" charset="-120"/>
              </a:rPr>
              <a:t> imaging before, during, and after encounter</a:t>
            </a:r>
            <a:endParaRPr lang="en-US" sz="7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3" name="Global gravity model to spherical harmonic degreeorder 4"/>
          <p:cNvSpPr/>
          <p:nvPr/>
        </p:nvSpPr>
        <p:spPr>
          <a:xfrm>
            <a:off x="4411483" y="1939800"/>
            <a:ext cx="1841168" cy="2222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875"/>
              </a:lnSpc>
              <a:spcAft>
                <a:spcPts val="199"/>
              </a:spcAft>
            </a:pPr>
            <a:r>
              <a:rPr lang="en-US" sz="750" dirty="0">
                <a:solidFill>
                  <a:srgbClr val="FFFFFF"/>
                </a:solidFill>
                <a:latin typeface="Helvetica Now Var Text Light" pitchFamily="34" charset="0"/>
                <a:ea typeface="Helvetica Now Var Text Light" pitchFamily="34" charset="-122"/>
                <a:cs typeface="Helvetica Now Var Text Light" pitchFamily="34" charset="-120"/>
              </a:rPr>
              <a:t>Global </a:t>
            </a:r>
            <a:r>
              <a:rPr lang="en-US" sz="750" dirty="0">
                <a:solidFill>
                  <a:srgbClr val="CCCCCC"/>
                </a:solidFill>
                <a:latin typeface="Helvetica Now Var Text ExtraBold" pitchFamily="34" charset="0"/>
                <a:ea typeface="Helvetica Now Var Text ExtraBold" pitchFamily="34" charset="-122"/>
                <a:cs typeface="Helvetica Now Var Text ExtraBold" pitchFamily="34" charset="-120"/>
              </a:rPr>
              <a:t>gravity model</a:t>
            </a:r>
            <a:r>
              <a:rPr lang="en-US" sz="750" dirty="0">
                <a:solidFill>
                  <a:srgbClr val="FFFFFF"/>
                </a:solidFill>
                <a:latin typeface="Helvetica Now Var Text Light" pitchFamily="34" charset="0"/>
                <a:ea typeface="Helvetica Now Var Text Light" pitchFamily="34" charset="-122"/>
                <a:cs typeface="Helvetica Now Var Text Light" pitchFamily="34" charset="-120"/>
              </a:rPr>
              <a:t> to spherical harmonic degree/order 4</a:t>
            </a:r>
            <a:endParaRPr lang="en-US" sz="7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4" name="Distinguish interior 20 m monolithic objects  voids"/>
          <p:cNvSpPr/>
          <p:nvPr/>
        </p:nvSpPr>
        <p:spPr>
          <a:xfrm>
            <a:off x="4411483" y="2336675"/>
            <a:ext cx="1841168" cy="2222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875"/>
              </a:lnSpc>
              <a:spcAft>
                <a:spcPts val="199"/>
              </a:spcAft>
            </a:pPr>
            <a:r>
              <a:rPr lang="en-US" sz="750" dirty="0">
                <a:solidFill>
                  <a:srgbClr val="FFFFFF"/>
                </a:solidFill>
                <a:latin typeface="Helvetica Now Var Text Light" pitchFamily="34" charset="0"/>
                <a:ea typeface="Helvetica Now Var Text Light" pitchFamily="34" charset="-122"/>
                <a:cs typeface="Helvetica Now Var Text Light" pitchFamily="34" charset="-120"/>
              </a:rPr>
              <a:t>Distinguish interior ≥10 m monolithic </a:t>
            </a:r>
            <a:r>
              <a:rPr lang="en-US" sz="750" dirty="0">
                <a:solidFill>
                  <a:srgbClr val="CCCCCC"/>
                </a:solidFill>
                <a:latin typeface="Helvetica Now Var Text ExtraBold" pitchFamily="34" charset="0"/>
                <a:ea typeface="Helvetica Now Var Text ExtraBold" pitchFamily="34" charset="-122"/>
                <a:cs typeface="Helvetica Now Var Text ExtraBold" pitchFamily="34" charset="-120"/>
              </a:rPr>
              <a:t>objects / voids</a:t>
            </a:r>
            <a:endParaRPr lang="en-US" sz="7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5" name="Measure interior dielectric constant at 03 accuracy and 10 precision"/>
          <p:cNvSpPr/>
          <p:nvPr/>
        </p:nvSpPr>
        <p:spPr>
          <a:xfrm>
            <a:off x="4411483" y="2689840"/>
            <a:ext cx="1841168" cy="2222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875"/>
              </a:lnSpc>
              <a:spcAft>
                <a:spcPts val="199"/>
              </a:spcAft>
            </a:pPr>
            <a:r>
              <a:rPr lang="en-US" sz="750" dirty="0">
                <a:solidFill>
                  <a:srgbClr val="FFFFFF"/>
                </a:solidFill>
                <a:latin typeface="Helvetica Now Var Text Light" pitchFamily="34" charset="0"/>
                <a:ea typeface="Helvetica Now Var Text Light" pitchFamily="34" charset="-122"/>
                <a:cs typeface="Helvetica Now Var Text Light" pitchFamily="34" charset="-120"/>
              </a:rPr>
              <a:t>Measure interior </a:t>
            </a:r>
            <a:r>
              <a:rPr lang="en-US" sz="750" dirty="0">
                <a:solidFill>
                  <a:srgbClr val="CCCCCC"/>
                </a:solidFill>
                <a:latin typeface="Helvetica Now Var Text ExtraBold" pitchFamily="34" charset="0"/>
                <a:ea typeface="Helvetica Now Var Text ExtraBold" pitchFamily="34" charset="-122"/>
                <a:cs typeface="Helvetica Now Var Text ExtraBold" pitchFamily="34" charset="-120"/>
              </a:rPr>
              <a:t>dielectric constant</a:t>
            </a:r>
            <a:r>
              <a:rPr lang="en-US" sz="750" dirty="0">
                <a:solidFill>
                  <a:srgbClr val="FFFFFF"/>
                </a:solidFill>
                <a:latin typeface="Helvetica Now Var Text Light" pitchFamily="34" charset="0"/>
                <a:ea typeface="Helvetica Now Var Text Light" pitchFamily="34" charset="-122"/>
                <a:cs typeface="Helvetica Now Var Text Light" pitchFamily="34" charset="-120"/>
              </a:rPr>
              <a:t> at ∆ε=0.3 accuracy and 10% precision</a:t>
            </a:r>
            <a:endParaRPr lang="en-US" sz="7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6" name="Measure albedo change"/>
          <p:cNvSpPr/>
          <p:nvPr/>
        </p:nvSpPr>
        <p:spPr>
          <a:xfrm>
            <a:off x="4411483" y="3161133"/>
            <a:ext cx="1841168" cy="1111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875"/>
              </a:lnSpc>
              <a:spcAft>
                <a:spcPts val="199"/>
              </a:spcAft>
            </a:pPr>
            <a:r>
              <a:rPr lang="en-US" sz="750" dirty="0">
                <a:solidFill>
                  <a:srgbClr val="FFFFFF"/>
                </a:solidFill>
                <a:latin typeface="Helvetica Now Var Text Light" pitchFamily="34" charset="0"/>
                <a:ea typeface="Helvetica Now Var Text Light" pitchFamily="34" charset="-122"/>
                <a:cs typeface="Helvetica Now Var Text Light" pitchFamily="34" charset="-120"/>
              </a:rPr>
              <a:t>Measure </a:t>
            </a:r>
            <a:r>
              <a:rPr lang="en-US" sz="750" dirty="0">
                <a:solidFill>
                  <a:srgbClr val="CCCCCC"/>
                </a:solidFill>
                <a:latin typeface="Helvetica Now Var Text ExtraBold" pitchFamily="34" charset="0"/>
                <a:ea typeface="Helvetica Now Var Text ExtraBold" pitchFamily="34" charset="-122"/>
                <a:cs typeface="Helvetica Now Var Text ExtraBold" pitchFamily="34" charset="-120"/>
              </a:rPr>
              <a:t>albedo</a:t>
            </a:r>
            <a:r>
              <a:rPr lang="en-US" sz="750" dirty="0">
                <a:solidFill>
                  <a:srgbClr val="FFFFFF"/>
                </a:solidFill>
                <a:latin typeface="Helvetica Now Var Text Light" pitchFamily="34" charset="0"/>
                <a:ea typeface="Helvetica Now Var Text Light" pitchFamily="34" charset="-122"/>
                <a:cs typeface="Helvetica Now Var Text Light" pitchFamily="34" charset="-120"/>
              </a:rPr>
              <a:t> change</a:t>
            </a:r>
            <a:endParaRPr lang="en-US" sz="7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7" name="Measure color change"/>
          <p:cNvSpPr/>
          <p:nvPr/>
        </p:nvSpPr>
        <p:spPr>
          <a:xfrm>
            <a:off x="4411483" y="3351353"/>
            <a:ext cx="1841168" cy="1111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875"/>
              </a:lnSpc>
              <a:spcAft>
                <a:spcPts val="199"/>
              </a:spcAft>
            </a:pPr>
            <a:r>
              <a:rPr lang="en-US" sz="750" dirty="0">
                <a:solidFill>
                  <a:srgbClr val="FFFFFF"/>
                </a:solidFill>
                <a:latin typeface="Helvetica Now Var Text Light" pitchFamily="34" charset="0"/>
                <a:ea typeface="Helvetica Now Var Text Light" pitchFamily="34" charset="-122"/>
                <a:cs typeface="Helvetica Now Var Text Light" pitchFamily="34" charset="-120"/>
              </a:rPr>
              <a:t>Measure </a:t>
            </a:r>
            <a:r>
              <a:rPr lang="en-US" sz="750" dirty="0">
                <a:solidFill>
                  <a:srgbClr val="CCCCCC"/>
                </a:solidFill>
                <a:latin typeface="Helvetica Now Var Text ExtraBold" pitchFamily="34" charset="0"/>
                <a:ea typeface="Helvetica Now Var Text ExtraBold" pitchFamily="34" charset="-122"/>
                <a:cs typeface="Helvetica Now Var Text ExtraBold" pitchFamily="34" charset="-120"/>
              </a:rPr>
              <a:t>color</a:t>
            </a:r>
            <a:r>
              <a:rPr lang="en-US" sz="750" dirty="0">
                <a:solidFill>
                  <a:srgbClr val="FFFFFF"/>
                </a:solidFill>
                <a:latin typeface="Helvetica Now Var Text Light" pitchFamily="34" charset="0"/>
                <a:ea typeface="Helvetica Now Var Text Light" pitchFamily="34" charset="-122"/>
                <a:cs typeface="Helvetica Now Var Text Light" pitchFamily="34" charset="-120"/>
              </a:rPr>
              <a:t> change</a:t>
            </a:r>
            <a:endParaRPr lang="en-US" sz="7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8" name="Construct Digital Terrain Maps of select regions at 001 m px-1 res"/>
          <p:cNvSpPr/>
          <p:nvPr/>
        </p:nvSpPr>
        <p:spPr>
          <a:xfrm>
            <a:off x="4411483" y="3558721"/>
            <a:ext cx="1841168" cy="2222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875"/>
              </a:lnSpc>
              <a:spcAft>
                <a:spcPts val="199"/>
              </a:spcAft>
            </a:pPr>
            <a:r>
              <a:rPr lang="en-US" sz="750" dirty="0">
                <a:solidFill>
                  <a:srgbClr val="FFFFFF"/>
                </a:solidFill>
                <a:latin typeface="Helvetica Now Var Text Light" pitchFamily="34" charset="0"/>
                <a:ea typeface="Helvetica Now Var Text Light" pitchFamily="34" charset="-122"/>
                <a:cs typeface="Helvetica Now Var Text Light" pitchFamily="34" charset="-120"/>
              </a:rPr>
              <a:t>Construct </a:t>
            </a:r>
            <a:r>
              <a:rPr lang="en-US" sz="750" dirty="0">
                <a:solidFill>
                  <a:srgbClr val="CCCCCC"/>
                </a:solidFill>
                <a:latin typeface="Helvetica Now Var Text ExtraBold" pitchFamily="34" charset="0"/>
                <a:ea typeface="Helvetica Now Var Text ExtraBold" pitchFamily="34" charset="-122"/>
                <a:cs typeface="Helvetica Now Var Text ExtraBold" pitchFamily="34" charset="-120"/>
              </a:rPr>
              <a:t>Digital Terrain Maps </a:t>
            </a:r>
            <a:r>
              <a:rPr lang="en-US" sz="750" dirty="0">
                <a:solidFill>
                  <a:srgbClr val="FFFFFF"/>
                </a:solidFill>
                <a:latin typeface="Helvetica Now Var Text Light" pitchFamily="34" charset="0"/>
                <a:ea typeface="Helvetica Now Var Text Light" pitchFamily="34" charset="-122"/>
                <a:cs typeface="Helvetica Now Var Text Light" pitchFamily="34" charset="-120"/>
              </a:rPr>
              <a:t>of select regions at 0.01 m px-1 res.</a:t>
            </a:r>
            <a:endParaRPr lang="en-US" sz="7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9" name="Measure the spin state before and after encounter"/>
          <p:cNvSpPr/>
          <p:nvPr/>
        </p:nvSpPr>
        <p:spPr>
          <a:xfrm>
            <a:off x="4411483" y="3920703"/>
            <a:ext cx="1841168" cy="2222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875"/>
              </a:lnSpc>
              <a:spcAft>
                <a:spcPts val="199"/>
              </a:spcAft>
            </a:pPr>
            <a:r>
              <a:rPr lang="en-US" sz="750" dirty="0">
                <a:solidFill>
                  <a:srgbClr val="FFFFFF"/>
                </a:solidFill>
                <a:latin typeface="Helvetica Now Var Text Light" pitchFamily="34" charset="0"/>
                <a:ea typeface="Helvetica Now Var Text Light" pitchFamily="34" charset="-122"/>
                <a:cs typeface="Helvetica Now Var Text Light" pitchFamily="34" charset="-120"/>
              </a:rPr>
              <a:t>Measure the </a:t>
            </a:r>
            <a:r>
              <a:rPr lang="en-US" sz="750" dirty="0">
                <a:solidFill>
                  <a:srgbClr val="CCCCCC"/>
                </a:solidFill>
                <a:latin typeface="Helvetica Now Var Text ExtraBold" pitchFamily="34" charset="0"/>
                <a:ea typeface="Helvetica Now Var Text ExtraBold" pitchFamily="34" charset="-122"/>
                <a:cs typeface="Helvetica Now Var Text ExtraBold" pitchFamily="34" charset="-120"/>
              </a:rPr>
              <a:t>spin state</a:t>
            </a:r>
            <a:r>
              <a:rPr lang="en-US" sz="750" dirty="0">
                <a:solidFill>
                  <a:srgbClr val="FFFFFF"/>
                </a:solidFill>
                <a:latin typeface="Helvetica Now Var Text Light" pitchFamily="34" charset="0"/>
                <a:ea typeface="Helvetica Now Var Text Light" pitchFamily="34" charset="-122"/>
                <a:cs typeface="Helvetica Now Var Text Light" pitchFamily="34" charset="-120"/>
              </a:rPr>
              <a:t> before and after encounter</a:t>
            </a:r>
            <a:endParaRPr lang="en-US" sz="7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0" name="Image Apophis while transiting Earth during the encounter"/>
          <p:cNvSpPr/>
          <p:nvPr/>
        </p:nvSpPr>
        <p:spPr>
          <a:xfrm>
            <a:off x="4411483" y="4347661"/>
            <a:ext cx="1841168" cy="2222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875"/>
              </a:lnSpc>
              <a:spcAft>
                <a:spcPts val="199"/>
              </a:spcAft>
            </a:pPr>
            <a:r>
              <a:rPr lang="en-US" sz="750" dirty="0">
                <a:solidFill>
                  <a:srgbClr val="FFFFFF"/>
                </a:solidFill>
                <a:latin typeface="Helvetica Now Var Text Light" pitchFamily="34" charset="0"/>
                <a:ea typeface="Helvetica Now Var Text Light" pitchFamily="34" charset="-122"/>
                <a:cs typeface="Helvetica Now Var Text Light" pitchFamily="34" charset="-120"/>
              </a:rPr>
              <a:t>Image Apophis while </a:t>
            </a:r>
            <a:r>
              <a:rPr lang="en-US" sz="750" dirty="0">
                <a:solidFill>
                  <a:srgbClr val="CCCCCC"/>
                </a:solidFill>
                <a:latin typeface="Helvetica Now Var Text ExtraBold" pitchFamily="34" charset="0"/>
                <a:ea typeface="Helvetica Now Var Text ExtraBold" pitchFamily="34" charset="-122"/>
                <a:cs typeface="Helvetica Now Var Text ExtraBold" pitchFamily="34" charset="-120"/>
              </a:rPr>
              <a:t>transiting Earth </a:t>
            </a:r>
            <a:r>
              <a:rPr lang="en-US" sz="750" dirty="0">
                <a:solidFill>
                  <a:srgbClr val="FFFFFF"/>
                </a:solidFill>
                <a:latin typeface="Helvetica Neue Light" pitchFamily="34" charset="0"/>
                <a:ea typeface="Helvetica Neue Light" pitchFamily="34" charset="-122"/>
                <a:cs typeface="Helvetica Neue Light" pitchFamily="34" charset="-120"/>
              </a:rPr>
              <a:t>during</a:t>
            </a:r>
            <a:r>
              <a:rPr lang="en-US" sz="750" dirty="0">
                <a:solidFill>
                  <a:srgbClr val="FFFFFF"/>
                </a:solidFill>
                <a:latin typeface="Helvetica Now Var Text Light" pitchFamily="34" charset="0"/>
                <a:ea typeface="Helvetica Now Var Text Light" pitchFamily="34" charset="-122"/>
                <a:cs typeface="Helvetica Now Var Text Light" pitchFamily="34" charset="-120"/>
              </a:rPr>
              <a:t> the encounter</a:t>
            </a:r>
            <a:endParaRPr lang="en-US" sz="7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1" name="name_12 Determine the internal block size distribution composition porosity and geometric arrangement"/>
          <p:cNvSpPr/>
          <p:nvPr/>
        </p:nvSpPr>
        <p:spPr>
          <a:xfrm>
            <a:off x="2576216" y="2352376"/>
            <a:ext cx="1452074" cy="42068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875"/>
              </a:lnSpc>
              <a:spcAft>
                <a:spcPts val="199"/>
              </a:spcAft>
            </a:pPr>
            <a:r>
              <a:rPr lang="en-US" sz="750" dirty="0">
                <a:solidFill>
                  <a:srgbClr val="96C8D6"/>
                </a:solidFill>
                <a:latin typeface="Helvetica Now Var Regular" pitchFamily="34" charset="0"/>
                <a:ea typeface="Helvetica Now Var Regular" pitchFamily="34" charset="-122"/>
                <a:cs typeface="Helvetica Now Var Regular" pitchFamily="34" charset="-120"/>
              </a:rPr>
              <a:t>1.2.</a:t>
            </a:r>
            <a:r>
              <a:rPr lang="en-US" sz="750" dirty="0">
                <a:solidFill>
                  <a:srgbClr val="FFFFFF"/>
                </a:solidFill>
                <a:latin typeface="Helvetica Now Var Text Light" pitchFamily="34" charset="0"/>
                <a:ea typeface="Helvetica Now Var Text Light" pitchFamily="34" charset="-122"/>
                <a:cs typeface="Helvetica Now Var Text Light" pitchFamily="34" charset="-120"/>
              </a:rPr>
              <a:t> Determine the internal block size distribution, composition, porosity, and geometric arrangement</a:t>
            </a:r>
            <a:endParaRPr lang="en-US" sz="7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2" name="name_21 Determine if material moves on the surface of Apophis during the Earth encounter"/>
          <p:cNvSpPr/>
          <p:nvPr/>
        </p:nvSpPr>
        <p:spPr>
          <a:xfrm>
            <a:off x="2576215" y="3147479"/>
            <a:ext cx="1597116" cy="395596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875"/>
              </a:lnSpc>
              <a:spcAft>
                <a:spcPts val="199"/>
              </a:spcAft>
            </a:pPr>
            <a:r>
              <a:rPr lang="en-US" sz="750" dirty="0">
                <a:solidFill>
                  <a:srgbClr val="96C8D6"/>
                </a:solidFill>
                <a:latin typeface="Helvetica Now Var Regular" pitchFamily="34" charset="0"/>
                <a:ea typeface="Helvetica Now Var Regular" pitchFamily="34" charset="-122"/>
                <a:cs typeface="Helvetica Now Var Regular" pitchFamily="34" charset="-120"/>
              </a:rPr>
              <a:t>2.1.</a:t>
            </a:r>
            <a:r>
              <a:rPr lang="en-US" sz="750" dirty="0">
                <a:solidFill>
                  <a:srgbClr val="FFFFFF"/>
                </a:solidFill>
                <a:latin typeface="Helvetica Now Var Text Light" pitchFamily="34" charset="0"/>
                <a:ea typeface="Helvetica Now Var Text Light" pitchFamily="34" charset="-122"/>
                <a:cs typeface="Helvetica Now Var Text Light" pitchFamily="34" charset="-120"/>
              </a:rPr>
              <a:t> Determine if material moves on the surface of Apophis during the Earth encounter</a:t>
            </a:r>
            <a:endParaRPr lang="en-US" sz="7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3" name="name_22 Determine how the spin-state of Apophis changes during the Earth encounter"/>
          <p:cNvSpPr/>
          <p:nvPr/>
        </p:nvSpPr>
        <p:spPr>
          <a:xfrm>
            <a:off x="2576215" y="3874419"/>
            <a:ext cx="1597116" cy="31622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875"/>
              </a:lnSpc>
              <a:spcAft>
                <a:spcPts val="199"/>
              </a:spcAft>
            </a:pPr>
            <a:r>
              <a:rPr lang="en-US" sz="750" dirty="0">
                <a:solidFill>
                  <a:srgbClr val="96C8D6"/>
                </a:solidFill>
                <a:latin typeface="Helvetica Now Var Regular" pitchFamily="34" charset="0"/>
                <a:ea typeface="Helvetica Now Var Regular" pitchFamily="34" charset="-122"/>
                <a:cs typeface="Helvetica Now Var Regular" pitchFamily="34" charset="-120"/>
              </a:rPr>
              <a:t>2.2.</a:t>
            </a:r>
            <a:r>
              <a:rPr lang="en-US" sz="750" dirty="0">
                <a:solidFill>
                  <a:srgbClr val="FFFFFF"/>
                </a:solidFill>
                <a:latin typeface="Helvetica Now Var Text Light" pitchFamily="34" charset="0"/>
                <a:ea typeface="Helvetica Now Var Text Light" pitchFamily="34" charset="-122"/>
                <a:cs typeface="Helvetica Now Var Text Light" pitchFamily="34" charset="-120"/>
              </a:rPr>
              <a:t> Determine how the spin-state of Apophis changes during the Earth encounter</a:t>
            </a:r>
            <a:endParaRPr lang="en-US" sz="7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4" name="name_23 Put asteroids into human context simultaneous resolved images of Earth and Apophis"/>
          <p:cNvSpPr/>
          <p:nvPr/>
        </p:nvSpPr>
        <p:spPr>
          <a:xfrm>
            <a:off x="2576215" y="4276421"/>
            <a:ext cx="1597116" cy="395596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875"/>
              </a:lnSpc>
              <a:spcAft>
                <a:spcPts val="199"/>
              </a:spcAft>
            </a:pPr>
            <a:r>
              <a:rPr lang="en-US" sz="750" dirty="0">
                <a:solidFill>
                  <a:srgbClr val="96C8D6"/>
                </a:solidFill>
                <a:latin typeface="Helvetica Now Var Regular" pitchFamily="34" charset="0"/>
                <a:ea typeface="Helvetica Now Var Regular" pitchFamily="34" charset="-122"/>
                <a:cs typeface="Helvetica Now Var Regular" pitchFamily="34" charset="-120"/>
              </a:rPr>
              <a:t>2.3.</a:t>
            </a:r>
            <a:r>
              <a:rPr lang="en-US" sz="750" dirty="0">
                <a:solidFill>
                  <a:srgbClr val="FFFFFF"/>
                </a:solidFill>
                <a:latin typeface="Helvetica Now Var Text Light" pitchFamily="34" charset="0"/>
                <a:ea typeface="Helvetica Now Var Text Light" pitchFamily="34" charset="-122"/>
                <a:cs typeface="Helvetica Now Var Text Light" pitchFamily="34" charset="-120"/>
              </a:rPr>
              <a:t> Put asteroids into human context: simultaneous resolved images of Earth and Apophis</a:t>
            </a:r>
            <a:endParaRPr lang="en-US" sz="7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5" name="Understand how close planetary encounters affect asteroids with regard to resurfacing and response to impulsive events like deflection attempts"/>
          <p:cNvSpPr/>
          <p:nvPr/>
        </p:nvSpPr>
        <p:spPr>
          <a:xfrm>
            <a:off x="871606" y="3176237"/>
            <a:ext cx="1575428" cy="101951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1250"/>
              </a:lnSpc>
              <a:spcAft>
                <a:spcPts val="199"/>
              </a:spcAft>
            </a:pPr>
            <a:r>
              <a:rPr lang="en-US" sz="1062" dirty="0">
                <a:solidFill>
                  <a:srgbClr val="33C8ED"/>
                </a:solidFill>
                <a:latin typeface="Helvetica Now Var Regular" pitchFamily="34" charset="0"/>
                <a:ea typeface="Helvetica Now Var Regular" pitchFamily="34" charset="-122"/>
                <a:cs typeface="Helvetica Now Var Regular" pitchFamily="34" charset="-120"/>
              </a:rPr>
              <a:t>Understand how close planetary encounters affect asteroid</a:t>
            </a:r>
            <a:r>
              <a:rPr lang="en-US" sz="1062" dirty="0">
                <a:solidFill>
                  <a:srgbClr val="FFFFFF"/>
                </a:solidFill>
                <a:latin typeface="Helvetica Now Var Regular" pitchFamily="34" charset="0"/>
                <a:ea typeface="Helvetica Now Var Regular" pitchFamily="34" charset="-122"/>
                <a:cs typeface="Helvetica Now Var Regular" pitchFamily="34" charset="-120"/>
              </a:rPr>
              <a:t> </a:t>
            </a:r>
            <a:r>
              <a:rPr lang="en-US" sz="1062" dirty="0">
                <a:solidFill>
                  <a:srgbClr val="FFFFFF"/>
                </a:solidFill>
                <a:latin typeface="Helvetica Now Var Text ExtraLight" pitchFamily="34" charset="0"/>
                <a:ea typeface="Helvetica Now Var Text ExtraLight" pitchFamily="34" charset="-122"/>
                <a:cs typeface="Helvetica Now Var Text ExtraLight" pitchFamily="34" charset="-120"/>
              </a:rPr>
              <a:t>resurfacing and response to impulsive events (like deflection attempts)</a:t>
            </a:r>
            <a:endParaRPr lang="en-US" sz="1062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6" name="Science Goals"/>
          <p:cNvSpPr/>
          <p:nvPr/>
        </p:nvSpPr>
        <p:spPr>
          <a:xfrm>
            <a:off x="874024" y="957202"/>
            <a:ext cx="971555" cy="3651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1437"/>
              </a:lnSpc>
              <a:spcAft>
                <a:spcPts val="250"/>
              </a:spcAft>
            </a:pPr>
            <a:r>
              <a:rPr lang="en-US" sz="1250" kern="0" spc="-62" dirty="0">
                <a:solidFill>
                  <a:srgbClr val="33C8ED"/>
                </a:solidFill>
                <a:latin typeface="Helvetica Now Var Text Light" pitchFamily="34" charset="0"/>
                <a:ea typeface="Helvetica Now Var Text Light" pitchFamily="34" charset="-122"/>
                <a:cs typeface="Helvetica Now Var Text Light" pitchFamily="34" charset="-120"/>
              </a:rPr>
              <a:t>Science Goals</a:t>
            </a:r>
            <a:endParaRPr lang="en-US" sz="12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7" name="Science Objectives"/>
          <p:cNvSpPr/>
          <p:nvPr/>
        </p:nvSpPr>
        <p:spPr>
          <a:xfrm>
            <a:off x="2576216" y="957202"/>
            <a:ext cx="1357739" cy="3651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1437"/>
              </a:lnSpc>
              <a:spcAft>
                <a:spcPts val="250"/>
              </a:spcAft>
            </a:pPr>
            <a:r>
              <a:rPr lang="en-US" sz="1250" kern="0" spc="-62" dirty="0">
                <a:solidFill>
                  <a:srgbClr val="96C8D6"/>
                </a:solidFill>
                <a:latin typeface="Helvetica Now Var Text Light" pitchFamily="34" charset="0"/>
                <a:ea typeface="Helvetica Now Var Text Light" pitchFamily="34" charset="-122"/>
                <a:cs typeface="Helvetica Now Var Text Light" pitchFamily="34" charset="-120"/>
              </a:rPr>
              <a:t>Science Objectives</a:t>
            </a:r>
            <a:endParaRPr lang="en-US" sz="12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8" name="Measurement Requirements"/>
          <p:cNvSpPr/>
          <p:nvPr/>
        </p:nvSpPr>
        <p:spPr>
          <a:xfrm>
            <a:off x="4411482" y="957202"/>
            <a:ext cx="1969347" cy="3651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1437"/>
              </a:lnSpc>
              <a:spcAft>
                <a:spcPts val="250"/>
              </a:spcAft>
            </a:pPr>
            <a:r>
              <a:rPr lang="en-US" sz="1250" kern="0" spc="-62" dirty="0">
                <a:solidFill>
                  <a:srgbClr val="CCCCCC"/>
                </a:solidFill>
                <a:latin typeface="Helvetica Now Var Text Light" pitchFamily="34" charset="0"/>
                <a:ea typeface="Helvetica Now Var Text Light" pitchFamily="34" charset="-122"/>
                <a:cs typeface="Helvetica Now Var Text Light" pitchFamily="34" charset="-120"/>
              </a:rPr>
              <a:t>Measurement Requirements</a:t>
            </a:r>
            <a:endParaRPr lang="en-US" sz="12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9" name="InstrumentMission Requirements"/>
          <p:cNvSpPr/>
          <p:nvPr/>
        </p:nvSpPr>
        <p:spPr>
          <a:xfrm>
            <a:off x="6512905" y="957202"/>
            <a:ext cx="1774155" cy="3651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1437"/>
              </a:lnSpc>
              <a:spcAft>
                <a:spcPts val="250"/>
              </a:spcAft>
            </a:pPr>
            <a:r>
              <a:rPr lang="en-US" sz="1250" kern="0" spc="-62" dirty="0">
                <a:solidFill>
                  <a:srgbClr val="E28D7C"/>
                </a:solidFill>
                <a:latin typeface="Helvetica Now Var Text Light" pitchFamily="34" charset="0"/>
                <a:ea typeface="Helvetica Now Var Text Light" pitchFamily="34" charset="-122"/>
                <a:cs typeface="Helvetica Now Var Text Light" pitchFamily="34" charset="-120"/>
              </a:rPr>
              <a:t>Instrument/Mission Requirements</a:t>
            </a:r>
            <a:endParaRPr lang="en-US" sz="12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0" name="name_1"/>
          <p:cNvSpPr/>
          <p:nvPr/>
        </p:nvSpPr>
        <p:spPr>
          <a:xfrm>
            <a:off x="334863" y="1359851"/>
            <a:ext cx="373063" cy="11112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7187"/>
              </a:lnSpc>
              <a:spcAft>
                <a:spcPts val="1187"/>
              </a:spcAft>
            </a:pPr>
            <a:r>
              <a:rPr lang="en-US" sz="5931" kern="0" spc="-62" dirty="0">
                <a:solidFill>
                  <a:srgbClr val="656565"/>
                </a:solidFill>
                <a:latin typeface="Helvetica Now Var Text Light" pitchFamily="34" charset="0"/>
                <a:ea typeface="Helvetica Now Var Text Light" pitchFamily="34" charset="-122"/>
                <a:cs typeface="Helvetica Now Var Text Light" pitchFamily="34" charset="-120"/>
              </a:rPr>
              <a:t>1</a:t>
            </a:r>
            <a:endParaRPr lang="en-US" sz="593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1" name="name_2"/>
          <p:cNvSpPr/>
          <p:nvPr/>
        </p:nvSpPr>
        <p:spPr>
          <a:xfrm>
            <a:off x="244822" y="2889262"/>
            <a:ext cx="508000" cy="11112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7187"/>
              </a:lnSpc>
              <a:spcAft>
                <a:spcPts val="1187"/>
              </a:spcAft>
            </a:pPr>
            <a:r>
              <a:rPr lang="en-US" sz="5931" kern="0" spc="-62" dirty="0">
                <a:solidFill>
                  <a:srgbClr val="656565"/>
                </a:solidFill>
                <a:latin typeface="Helvetica Now Var Text Light" pitchFamily="34" charset="0"/>
                <a:ea typeface="Helvetica Now Var Text Light" pitchFamily="34" charset="-122"/>
                <a:cs typeface="Helvetica Now Var Text Light" pitchFamily="34" charset="-120"/>
              </a:rPr>
              <a:t>2</a:t>
            </a:r>
            <a:endParaRPr lang="en-US" sz="593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2" name="PAGE 25"/>
          <p:cNvSpPr/>
          <p:nvPr/>
        </p:nvSpPr>
        <p:spPr>
          <a:xfrm>
            <a:off x="4333875" y="30146"/>
            <a:ext cx="476325" cy="119063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761970">
              <a:lnSpc>
                <a:spcPts val="750"/>
              </a:lnSpc>
            </a:pPr>
            <a:r>
              <a:rPr lang="en-US" sz="625" dirty="0">
                <a:solidFill>
                  <a:srgbClr val="FFFFFF"/>
                </a:solidFill>
                <a:latin typeface="Helvetica Now Var Text Light" pitchFamily="34" charset="0"/>
                <a:ea typeface="Helvetica Now Var Text Light" pitchFamily="34" charset="-122"/>
                <a:cs typeface="Helvetica Now Var Text Light" pitchFamily="34" charset="-120"/>
              </a:rPr>
              <a:t>PAGE </a:t>
            </a:r>
            <a:r>
              <a:rPr lang="en-US" sz="625" dirty="0">
                <a:solidFill>
                  <a:srgbClr val="E31937"/>
                </a:solidFill>
                <a:latin typeface="Helvetica Now Var Text ExtraBold" pitchFamily="34" charset="0"/>
                <a:ea typeface="Helvetica Now Var Text ExtraBold" pitchFamily="34" charset="-122"/>
                <a:cs typeface="Helvetica Now Var Text ExtraBold" pitchFamily="34" charset="-120"/>
              </a:rPr>
              <a:t>25</a:t>
            </a:r>
            <a:endParaRPr lang="en-US" sz="625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4" name="name_2025"/>
          <p:cNvSpPr/>
          <p:nvPr/>
        </p:nvSpPr>
        <p:spPr>
          <a:xfrm>
            <a:off x="8826500" y="18240"/>
            <a:ext cx="246118" cy="14288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r" defTabSz="761970">
              <a:lnSpc>
                <a:spcPts val="937"/>
              </a:lnSpc>
            </a:pPr>
            <a:r>
              <a:rPr lang="en-US" sz="750" kern="0" spc="-125" dirty="0">
                <a:solidFill>
                  <a:srgbClr val="FFFFFF"/>
                </a:solidFill>
                <a:latin typeface="Helvetica Now Var Text ExtraLight" pitchFamily="34" charset="0"/>
                <a:ea typeface="Helvetica Now Var Text ExtraLight" pitchFamily="34" charset="-122"/>
                <a:cs typeface="Helvetica Now Var Text ExtraLight" pitchFamily="34" charset="-120"/>
              </a:rPr>
              <a:t>2025</a:t>
            </a:r>
            <a:endParaRPr lang="en-US" sz="7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5" name="MISSON TO APOPHIS"/>
          <p:cNvSpPr/>
          <p:nvPr/>
        </p:nvSpPr>
        <p:spPr>
          <a:xfrm>
            <a:off x="37704" y="30146"/>
            <a:ext cx="921836" cy="11907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defTabSz="761970">
              <a:lnSpc>
                <a:spcPts val="750"/>
              </a:lnSpc>
            </a:pPr>
            <a:r>
              <a:rPr lang="en-US" sz="625" dirty="0">
                <a:solidFill>
                  <a:srgbClr val="FFFFFF"/>
                </a:solidFill>
                <a:latin typeface="Helvetica Now Var Text Light" pitchFamily="34" charset="0"/>
                <a:ea typeface="Helvetica Now Var Text Light" pitchFamily="34" charset="-122"/>
                <a:cs typeface="Helvetica Now Var Text Light" pitchFamily="34" charset="-120"/>
              </a:rPr>
              <a:t>MISSON TO APOPHIS</a:t>
            </a:r>
            <a:endParaRPr lang="en-US" sz="625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50D85AE-34FE-3B75-32A5-15D09983F17F}"/>
              </a:ext>
            </a:extLst>
          </p:cNvPr>
          <p:cNvSpPr txBox="1"/>
          <p:nvPr/>
        </p:nvSpPr>
        <p:spPr>
          <a:xfrm>
            <a:off x="2353234" y="4794716"/>
            <a:ext cx="4277004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00" dirty="0">
                <a:solidFill>
                  <a:srgbClr val="A6A6A6"/>
                </a:solidFill>
                <a:cs typeface="Calibri"/>
              </a:rPr>
              <a:t>Pre-decisional Information – For Planning and Discussion Purposes Only</a:t>
            </a:r>
            <a:endParaRPr lang="en-US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649F9CD-361A-4DF5-ABE5-336BCF0D8D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00D1D03F-36A6-6FB3-7803-A02B13D89AA9}"/>
              </a:ext>
            </a:extLst>
          </p:cNvPr>
          <p:cNvSpPr/>
          <p:nvPr/>
        </p:nvSpPr>
        <p:spPr>
          <a:xfrm>
            <a:off x="2884221" y="733958"/>
            <a:ext cx="3383280" cy="3383280"/>
          </a:xfrm>
          <a:prstGeom prst="ellipse">
            <a:avLst/>
          </a:prstGeom>
          <a:solidFill>
            <a:schemeClr val="accent2">
              <a:alpha val="50196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83"/>
            <a:endParaRPr lang="en-US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43D1630-BFFC-DEE6-8083-05CF0ADD4654}"/>
              </a:ext>
            </a:extLst>
          </p:cNvPr>
          <p:cNvSpPr/>
          <p:nvPr/>
        </p:nvSpPr>
        <p:spPr>
          <a:xfrm>
            <a:off x="3959248" y="1699243"/>
            <a:ext cx="3110138" cy="3156361"/>
          </a:xfrm>
          <a:prstGeom prst="ellipse">
            <a:avLst/>
          </a:prstGeom>
          <a:solidFill>
            <a:srgbClr val="4472C4">
              <a:alpha val="50196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83"/>
            <a:endParaRPr lang="en-US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674EB3A-A2B0-11E6-DCB0-0EF4AB98A2C6}"/>
              </a:ext>
            </a:extLst>
          </p:cNvPr>
          <p:cNvSpPr/>
          <p:nvPr/>
        </p:nvSpPr>
        <p:spPr>
          <a:xfrm>
            <a:off x="1903267" y="1682507"/>
            <a:ext cx="3185777" cy="3181575"/>
          </a:xfrm>
          <a:prstGeom prst="ellipse">
            <a:avLst/>
          </a:prstGeom>
          <a:solidFill>
            <a:schemeClr val="accent6">
              <a:alpha val="50196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83"/>
            <a:endParaRPr lang="en-US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46ED18D-7CFC-4678-2594-01DF3C1703C9}"/>
              </a:ext>
            </a:extLst>
          </p:cNvPr>
          <p:cNvSpPr txBox="1"/>
          <p:nvPr/>
        </p:nvSpPr>
        <p:spPr>
          <a:xfrm>
            <a:off x="5674034" y="3896097"/>
            <a:ext cx="10964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/>
            <a:r>
              <a:rPr lang="en-US" sz="1200">
                <a:solidFill>
                  <a:prstClr val="white"/>
                </a:solidFill>
                <a:latin typeface="Aptos" panose="02110004020202020204"/>
              </a:rPr>
              <a:t>Seismolog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62DD7-67C9-7B98-95D9-C8AB988C6C0D}"/>
              </a:ext>
            </a:extLst>
          </p:cNvPr>
          <p:cNvSpPr txBox="1"/>
          <p:nvPr/>
        </p:nvSpPr>
        <p:spPr>
          <a:xfrm>
            <a:off x="1787462" y="3383524"/>
            <a:ext cx="15860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83"/>
            <a:r>
              <a:rPr lang="en-US" sz="1200">
                <a:solidFill>
                  <a:prstClr val="white"/>
                </a:solidFill>
                <a:latin typeface="Aptos" panose="02110004020202020204"/>
              </a:rPr>
              <a:t>Map elemental abundanc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A4B40EB-16B5-E426-3BF8-E939A72FD2BE}"/>
              </a:ext>
            </a:extLst>
          </p:cNvPr>
          <p:cNvSpPr txBox="1"/>
          <p:nvPr/>
        </p:nvSpPr>
        <p:spPr>
          <a:xfrm>
            <a:off x="3862868" y="2587397"/>
            <a:ext cx="132438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83"/>
            <a:r>
              <a:rPr lang="en-US" sz="1200" dirty="0">
                <a:solidFill>
                  <a:prstClr val="white"/>
                </a:solidFill>
                <a:latin typeface="Aptos" panose="02110004020202020204"/>
              </a:rPr>
              <a:t>Map surface morphology</a:t>
            </a:r>
          </a:p>
          <a:p>
            <a:pPr algn="ctr" defTabSz="685783"/>
            <a:endParaRPr lang="en-US" sz="1200" dirty="0">
              <a:solidFill>
                <a:prstClr val="white"/>
              </a:solidFill>
              <a:latin typeface="Aptos" panose="02110004020202020204"/>
            </a:endParaRPr>
          </a:p>
          <a:p>
            <a:pPr algn="ctr" defTabSz="685783"/>
            <a:r>
              <a:rPr lang="en-US" sz="1200" dirty="0">
                <a:solidFill>
                  <a:prstClr val="white"/>
                </a:solidFill>
                <a:latin typeface="Aptos" panose="02110004020202020204"/>
              </a:rPr>
              <a:t>Shape, bulk density, porosity</a:t>
            </a:r>
          </a:p>
          <a:p>
            <a:pPr algn="ctr" defTabSz="685783"/>
            <a:endParaRPr lang="en-US" sz="1200" dirty="0">
              <a:solidFill>
                <a:prstClr val="white"/>
              </a:solidFill>
              <a:latin typeface="Aptos" panose="02110004020202020204"/>
            </a:endParaRPr>
          </a:p>
          <a:p>
            <a:pPr algn="ctr" defTabSz="685783"/>
            <a:r>
              <a:rPr lang="en-US" sz="1200" dirty="0">
                <a:solidFill>
                  <a:prstClr val="white"/>
                </a:solidFill>
                <a:latin typeface="Aptos" panose="02110004020202020204"/>
              </a:rPr>
              <a:t>Mass </a:t>
            </a:r>
          </a:p>
          <a:p>
            <a:pPr defTabSz="685783"/>
            <a:endParaRPr lang="en-US" sz="1200" dirty="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64F25A7-88DF-D85A-36C9-C939521A6AE2}"/>
              </a:ext>
            </a:extLst>
          </p:cNvPr>
          <p:cNvSpPr txBox="1"/>
          <p:nvPr/>
        </p:nvSpPr>
        <p:spPr>
          <a:xfrm>
            <a:off x="4757137" y="1847878"/>
            <a:ext cx="15373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83"/>
            <a:r>
              <a:rPr lang="en-US" sz="1200">
                <a:solidFill>
                  <a:prstClr val="white"/>
                </a:solidFill>
                <a:latin typeface="Aptos" panose="02110004020202020204"/>
              </a:rPr>
              <a:t>Surface material properties through surface chang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428E6D2-9DDA-3D4A-0498-FAEE4BF636AA}"/>
              </a:ext>
            </a:extLst>
          </p:cNvPr>
          <p:cNvSpPr txBox="1"/>
          <p:nvPr/>
        </p:nvSpPr>
        <p:spPr>
          <a:xfrm>
            <a:off x="5139032" y="3016587"/>
            <a:ext cx="14375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/>
            <a:r>
              <a:rPr lang="en-US" sz="1200">
                <a:solidFill>
                  <a:prstClr val="white"/>
                </a:solidFill>
                <a:latin typeface="Aptos" panose="02110004020202020204"/>
              </a:rPr>
              <a:t>Spin chang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87B9060-2709-E3A7-604B-F00C86AB1A84}"/>
              </a:ext>
            </a:extLst>
          </p:cNvPr>
          <p:cNvSpPr txBox="1"/>
          <p:nvPr/>
        </p:nvSpPr>
        <p:spPr>
          <a:xfrm>
            <a:off x="4933376" y="3323723"/>
            <a:ext cx="9364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83"/>
            <a:r>
              <a:rPr lang="en-US" sz="1200">
                <a:solidFill>
                  <a:prstClr val="white"/>
                </a:solidFill>
                <a:latin typeface="Aptos" panose="02110004020202020204"/>
              </a:rPr>
              <a:t>Ejected debri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53EE64A-9BF4-B3AC-50E8-3E951460BE64}"/>
              </a:ext>
            </a:extLst>
          </p:cNvPr>
          <p:cNvSpPr txBox="1"/>
          <p:nvPr/>
        </p:nvSpPr>
        <p:spPr>
          <a:xfrm>
            <a:off x="3243283" y="389796"/>
            <a:ext cx="2817062" cy="346249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83"/>
            <a:r>
              <a:rPr lang="en-US" sz="1800">
                <a:solidFill>
                  <a:srgbClr val="FF6E1D"/>
                </a:solidFill>
                <a:latin typeface="Aptos" panose="02110004020202020204"/>
              </a:rPr>
              <a:t>Caltech Mission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BCE7A89-9D74-35AD-A025-2836B62D56FC}"/>
              </a:ext>
            </a:extLst>
          </p:cNvPr>
          <p:cNvSpPr txBox="1"/>
          <p:nvPr/>
        </p:nvSpPr>
        <p:spPr>
          <a:xfrm>
            <a:off x="6996408" y="2227284"/>
            <a:ext cx="2010511" cy="346249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/>
            <a:r>
              <a:rPr lang="en-US" sz="1800">
                <a:solidFill>
                  <a:srgbClr val="0070C0"/>
                </a:solidFill>
                <a:latin typeface="Aptos" panose="02110004020202020204"/>
              </a:rPr>
              <a:t>RAMS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A2BD37D-F947-6149-6619-733BAA04783A}"/>
              </a:ext>
            </a:extLst>
          </p:cNvPr>
          <p:cNvSpPr txBox="1"/>
          <p:nvPr/>
        </p:nvSpPr>
        <p:spPr>
          <a:xfrm>
            <a:off x="648800" y="2279120"/>
            <a:ext cx="2010511" cy="346249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/>
            <a:r>
              <a:rPr lang="en-US" sz="1800">
                <a:solidFill>
                  <a:srgbClr val="00B050"/>
                </a:solidFill>
                <a:latin typeface="Aptos" panose="02110004020202020204"/>
              </a:rPr>
              <a:t>OSIRIS-APEX</a:t>
            </a:r>
          </a:p>
        </p:txBody>
      </p:sp>
      <p:sp>
        <p:nvSpPr>
          <p:cNvPr id="25" name="Slide Number Placeholder 6">
            <a:extLst>
              <a:ext uri="{FF2B5EF4-FFF2-40B4-BE49-F238E27FC236}">
                <a16:creationId xmlns:a16="http://schemas.microsoft.com/office/drawing/2014/main" id="{D7187194-BEDD-0AC6-F8D4-2E320565EBAB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7707265" y="4811213"/>
            <a:ext cx="586130" cy="272097"/>
          </a:xfrm>
        </p:spPr>
        <p:txBody>
          <a:bodyPr anchor="t"/>
          <a:lstStyle>
            <a:defPPr>
              <a:defRPr lang="en-US"/>
            </a:defPPr>
            <a:lvl1pPr marL="0" algn="l" defTabSz="6095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70" algn="l" defTabSz="6095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39" algn="l" defTabSz="6095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09" algn="l" defTabSz="6095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278" algn="l" defTabSz="6095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848" algn="l" defTabSz="6095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418" algn="l" defTabSz="6095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986" algn="l" defTabSz="6095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556" algn="l" defTabSz="6095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/>
            <a:fld id="{00000000-1234-1234-1234-123412341234}" type="slidenum">
              <a:rPr lang="en-US" sz="1000">
                <a:solidFill>
                  <a:prstClr val="black">
                    <a:lumMod val="50000"/>
                    <a:lumOff val="50000"/>
                  </a:prstClr>
                </a:solidFill>
                <a:latin typeface="Aptos" panose="02110004020202020204"/>
              </a:rPr>
              <a:pPr defTabSz="685783"/>
              <a:t>6</a:t>
            </a:fld>
            <a:endParaRPr lang="en-US" sz="1000">
              <a:solidFill>
                <a:prstClr val="black">
                  <a:lumMod val="50000"/>
                  <a:lumOff val="50000"/>
                </a:prstClr>
              </a:solidFill>
              <a:latin typeface="Aptos" panose="02110004020202020204"/>
            </a:endParaRPr>
          </a:p>
        </p:txBody>
      </p:sp>
      <p:pic>
        <p:nvPicPr>
          <p:cNvPr id="27" name="Picture 26" descr="A close up of a logo&#10;&#10;Description automatically generated">
            <a:extLst>
              <a:ext uri="{FF2B5EF4-FFF2-40B4-BE49-F238E27FC236}">
                <a16:creationId xmlns:a16="http://schemas.microsoft.com/office/drawing/2014/main" id="{69604904-9F87-BD82-9EDC-28968D4F0D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01946" y="4661094"/>
            <a:ext cx="1299028" cy="55555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E45EE22-C9BE-51CE-EFA1-D2B9E6C19D0F}"/>
              </a:ext>
            </a:extLst>
          </p:cNvPr>
          <p:cNvSpPr txBox="1"/>
          <p:nvPr/>
        </p:nvSpPr>
        <p:spPr>
          <a:xfrm>
            <a:off x="3336962" y="1037843"/>
            <a:ext cx="2470076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83"/>
            <a:r>
              <a:rPr lang="en-US" sz="1200" dirty="0">
                <a:solidFill>
                  <a:prstClr val="white"/>
                </a:solidFill>
                <a:latin typeface="Aptos" panose="02110004020202020204"/>
                <a:ea typeface="Calibri"/>
                <a:cs typeface="Calibri"/>
              </a:rPr>
              <a:t>Direct measurement of permittivity (composition and porosity)</a:t>
            </a:r>
            <a:endParaRPr lang="en-US" dirty="0">
              <a:solidFill>
                <a:prstClr val="white"/>
              </a:solidFill>
              <a:latin typeface="Aptos" panose="02110004020202020204"/>
              <a:ea typeface="Calibri"/>
              <a:cs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0FCDFD-6989-5A9D-2713-C2FC9AD4BAF0}"/>
              </a:ext>
            </a:extLst>
          </p:cNvPr>
          <p:cNvSpPr txBox="1"/>
          <p:nvPr/>
        </p:nvSpPr>
        <p:spPr>
          <a:xfrm>
            <a:off x="4926015" y="2512411"/>
            <a:ext cx="13243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83"/>
            <a:r>
              <a:rPr lang="en-US" sz="1200">
                <a:solidFill>
                  <a:prstClr val="white"/>
                </a:solidFill>
                <a:latin typeface="Aptos" panose="02110004020202020204"/>
              </a:rPr>
              <a:t>Interior heterogene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EC4A480-3452-6E4B-0173-24D71AF3BB0F}"/>
              </a:ext>
            </a:extLst>
          </p:cNvPr>
          <p:cNvSpPr txBox="1"/>
          <p:nvPr/>
        </p:nvSpPr>
        <p:spPr>
          <a:xfrm>
            <a:off x="2267950" y="3972226"/>
            <a:ext cx="15860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83"/>
            <a:r>
              <a:rPr lang="en-US" sz="1200">
                <a:solidFill>
                  <a:prstClr val="white"/>
                </a:solidFill>
                <a:latin typeface="Aptos" panose="02110004020202020204"/>
              </a:rPr>
              <a:t>Study </a:t>
            </a:r>
            <a:r>
              <a:rPr lang="en-US" sz="1200" err="1">
                <a:solidFill>
                  <a:prstClr val="white"/>
                </a:solidFill>
                <a:latin typeface="Aptos" panose="02110004020202020204"/>
              </a:rPr>
              <a:t>Yarkovsky</a:t>
            </a:r>
            <a:r>
              <a:rPr lang="en-US" sz="1200">
                <a:solidFill>
                  <a:prstClr val="white"/>
                </a:solidFill>
                <a:latin typeface="Aptos" panose="02110004020202020204"/>
              </a:rPr>
              <a:t> effect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D77A1A9-3BE0-8B40-89F9-94C61079B908}"/>
              </a:ext>
            </a:extLst>
          </p:cNvPr>
          <p:cNvSpPr txBox="1"/>
          <p:nvPr/>
        </p:nvSpPr>
        <p:spPr>
          <a:xfrm>
            <a:off x="1978906" y="2749160"/>
            <a:ext cx="9146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83"/>
            <a:r>
              <a:rPr lang="en-US" sz="1200">
                <a:solidFill>
                  <a:prstClr val="white"/>
                </a:solidFill>
                <a:latin typeface="Aptos" panose="02110004020202020204"/>
              </a:rPr>
              <a:t>Map mineralogy</a:t>
            </a: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8A0BC156-A457-6B4D-5AEA-2DEA7E19430A}"/>
              </a:ext>
            </a:extLst>
          </p:cNvPr>
          <p:cNvSpPr txBox="1">
            <a:spLocks/>
          </p:cNvSpPr>
          <p:nvPr/>
        </p:nvSpPr>
        <p:spPr>
          <a:xfrm>
            <a:off x="26649" y="-3075"/>
            <a:ext cx="8890892" cy="45922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68569" tIns="34275" rIns="68569" bIns="34275" rtlCol="0" anchor="t" anchorCtr="0">
            <a:noAutofit/>
          </a:bodyPr>
          <a:lstStyle>
            <a:lvl1pPr lvl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defTabSz="685800">
              <a:buClr>
                <a:prstClr val="black"/>
              </a:buClr>
            </a:pPr>
            <a:r>
              <a:rPr lang="en-US" sz="2400" b="1">
                <a:solidFill>
                  <a:srgbClr val="00B0F0"/>
                </a:solidFill>
                <a:latin typeface="Aptos Display" panose="02110004020202020204"/>
                <a:cs typeface="Arial"/>
              </a:rPr>
              <a:t>Caltech mission concept complements OSIRIS-APEX and RAMSES</a:t>
            </a:r>
            <a:endParaRPr lang="en-US" sz="2775" b="1">
              <a:solidFill>
                <a:prstClr val="black"/>
              </a:solidFill>
              <a:latin typeface="Aptos Display" panose="02110004020202020204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04792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93" descr="preencoded.png"/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5911594" y="772616"/>
            <a:ext cx="2786063" cy="1246188"/>
          </a:xfrm>
          <a:prstGeom prst="rect">
            <a:avLst/>
          </a:prstGeom>
        </p:spPr>
      </p:pic>
      <p:pic>
        <p:nvPicPr>
          <p:cNvPr id="3" name="Vector 182" descr="preencoded.png"/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745056" y="3062835"/>
            <a:ext cx="2706688" cy="4724"/>
          </a:xfrm>
          <a:prstGeom prst="rect">
            <a:avLst/>
          </a:prstGeom>
        </p:spPr>
      </p:pic>
      <p:pic>
        <p:nvPicPr>
          <p:cNvPr id="4" name="Vector 183" descr="preencoded.png"/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745056" y="3624352"/>
            <a:ext cx="2706688" cy="4724"/>
          </a:xfrm>
          <a:prstGeom prst="rect">
            <a:avLst/>
          </a:prstGeom>
        </p:spPr>
      </p:pic>
      <p:pic>
        <p:nvPicPr>
          <p:cNvPr id="5" name="Vector 199" descr="preencoded.png"/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5965854" y="3331186"/>
            <a:ext cx="2730500" cy="4724"/>
          </a:xfrm>
          <a:prstGeom prst="rect">
            <a:avLst/>
          </a:prstGeom>
        </p:spPr>
      </p:pic>
      <p:pic>
        <p:nvPicPr>
          <p:cNvPr id="6" name="Vector 201" descr="preencoded.png"/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5965854" y="2073562"/>
            <a:ext cx="2730500" cy="4724"/>
          </a:xfrm>
          <a:prstGeom prst="rect">
            <a:avLst/>
          </a:prstGeom>
        </p:spPr>
      </p:pic>
      <p:pic>
        <p:nvPicPr>
          <p:cNvPr id="7" name="Vector 200" descr="preencoded.png"/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7296500" y="3332300"/>
            <a:ext cx="4713" cy="1246188"/>
          </a:xfrm>
          <a:prstGeom prst="rect">
            <a:avLst/>
          </a:prstGeom>
        </p:spPr>
      </p:pic>
      <p:pic>
        <p:nvPicPr>
          <p:cNvPr id="8" name="Vector 178" descr="preencoded.png"/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745056" y="4210122"/>
            <a:ext cx="2706688" cy="4724"/>
          </a:xfrm>
          <a:prstGeom prst="rect">
            <a:avLst/>
          </a:prstGeom>
        </p:spPr>
      </p:pic>
      <p:pic>
        <p:nvPicPr>
          <p:cNvPr id="9" name="image 98" descr="preencoded.png"/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6965157" y="2452689"/>
            <a:ext cx="515938" cy="420688"/>
          </a:xfrm>
          <a:prstGeom prst="rect">
            <a:avLst/>
          </a:prstGeom>
        </p:spPr>
      </p:pic>
      <p:pic>
        <p:nvPicPr>
          <p:cNvPr id="10" name="image 99" descr="preencoded.png"/>
          <p:cNvPicPr>
            <a:picLocks noChangeAspect="1"/>
          </p:cNvPicPr>
          <p:nvPr/>
        </p:nvPicPr>
        <p:blipFill>
          <a:blip r:embed="rId11"/>
          <a:srcRect/>
          <a:stretch/>
        </p:blipFill>
        <p:spPr>
          <a:xfrm>
            <a:off x="5886137" y="2333626"/>
            <a:ext cx="762000" cy="650875"/>
          </a:xfrm>
          <a:prstGeom prst="rect">
            <a:avLst/>
          </a:prstGeom>
        </p:spPr>
      </p:pic>
      <p:pic>
        <p:nvPicPr>
          <p:cNvPr id="11" name="image 101" descr="preencoded.png"/>
          <p:cNvPicPr>
            <a:picLocks noChangeAspect="1"/>
          </p:cNvPicPr>
          <p:nvPr/>
        </p:nvPicPr>
        <p:blipFill>
          <a:blip r:embed="rId12"/>
          <a:srcRect/>
          <a:stretch/>
        </p:blipFill>
        <p:spPr>
          <a:xfrm>
            <a:off x="7889721" y="2397125"/>
            <a:ext cx="706438" cy="531813"/>
          </a:xfrm>
          <a:prstGeom prst="rect">
            <a:avLst/>
          </a:prstGeom>
        </p:spPr>
      </p:pic>
      <p:pic>
        <p:nvPicPr>
          <p:cNvPr id="12" name="image 100" descr="preencoded.png"/>
          <p:cNvPicPr>
            <a:picLocks noChangeAspect="1"/>
          </p:cNvPicPr>
          <p:nvPr/>
        </p:nvPicPr>
        <p:blipFill>
          <a:blip r:embed="rId13"/>
          <a:srcRect/>
          <a:stretch/>
        </p:blipFill>
        <p:spPr>
          <a:xfrm>
            <a:off x="4003354" y="842081"/>
            <a:ext cx="1135063" cy="3635375"/>
          </a:xfrm>
          <a:prstGeom prst="rect">
            <a:avLst/>
          </a:prstGeom>
        </p:spPr>
      </p:pic>
      <p:pic>
        <p:nvPicPr>
          <p:cNvPr id="14" name="image 108 copy 1" descr="preencoded.png"/>
          <p:cNvPicPr>
            <a:picLocks noChangeAspect="1"/>
          </p:cNvPicPr>
          <p:nvPr/>
        </p:nvPicPr>
        <p:blipFill>
          <a:blip r:embed="rId14"/>
          <a:srcRect/>
          <a:stretch/>
        </p:blipFill>
        <p:spPr>
          <a:xfrm>
            <a:off x="6166848" y="3685068"/>
            <a:ext cx="1071160" cy="815492"/>
          </a:xfrm>
          <a:prstGeom prst="rect">
            <a:avLst/>
          </a:prstGeom>
        </p:spPr>
      </p:pic>
      <p:pic>
        <p:nvPicPr>
          <p:cNvPr id="15" name="image 108 copy 2" descr="preencoded.png"/>
          <p:cNvPicPr>
            <a:picLocks noChangeAspect="1"/>
          </p:cNvPicPr>
          <p:nvPr/>
        </p:nvPicPr>
        <p:blipFill>
          <a:blip r:embed="rId15"/>
          <a:srcRect/>
          <a:stretch/>
        </p:blipFill>
        <p:spPr>
          <a:xfrm>
            <a:off x="5803352" y="3427245"/>
            <a:ext cx="1071160" cy="815492"/>
          </a:xfrm>
          <a:prstGeom prst="rect">
            <a:avLst/>
          </a:prstGeom>
        </p:spPr>
      </p:pic>
      <p:pic>
        <p:nvPicPr>
          <p:cNvPr id="16" name="Ellipse 150" descr="preencoded.png"/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rcRect/>
          <a:stretch/>
        </p:blipFill>
        <p:spPr>
          <a:xfrm>
            <a:off x="555626" y="2685345"/>
            <a:ext cx="111125" cy="111125"/>
          </a:xfrm>
          <a:prstGeom prst="rect">
            <a:avLst/>
          </a:prstGeom>
        </p:spPr>
      </p:pic>
      <p:pic>
        <p:nvPicPr>
          <p:cNvPr id="17" name="Ellipse 157" descr="preencoded.png"/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rcRect/>
          <a:stretch/>
        </p:blipFill>
        <p:spPr>
          <a:xfrm>
            <a:off x="555626" y="3190064"/>
            <a:ext cx="111125" cy="111125"/>
          </a:xfrm>
          <a:prstGeom prst="rect">
            <a:avLst/>
          </a:prstGeom>
        </p:spPr>
      </p:pic>
      <p:pic>
        <p:nvPicPr>
          <p:cNvPr id="18" name="Ellipse 153" descr="preencoded.png"/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rcRect/>
          <a:stretch/>
        </p:blipFill>
        <p:spPr>
          <a:xfrm>
            <a:off x="555626" y="3781117"/>
            <a:ext cx="111125" cy="111125"/>
          </a:xfrm>
          <a:prstGeom prst="rect">
            <a:avLst/>
          </a:prstGeom>
        </p:spPr>
      </p:pic>
      <p:sp>
        <p:nvSpPr>
          <p:cNvPr id="19" name="Apophis Mission Hardware"/>
          <p:cNvSpPr/>
          <p:nvPr/>
        </p:nvSpPr>
        <p:spPr>
          <a:xfrm>
            <a:off x="267952" y="466149"/>
            <a:ext cx="4117842" cy="40481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51">
              <a:lnSpc>
                <a:spcPts val="2547"/>
              </a:lnSpc>
            </a:pPr>
            <a:r>
              <a:rPr lang="en-US" sz="2185">
                <a:solidFill>
                  <a:srgbClr val="FFFFFF"/>
                </a:solidFill>
                <a:latin typeface="Helvetica Now Var Text ExtraBold" pitchFamily="34" charset="0"/>
                <a:ea typeface="Helvetica Now Var Text ExtraBold" pitchFamily="34" charset="-122"/>
                <a:cs typeface="Helvetica Now Var Text ExtraBold" pitchFamily="34" charset="-120"/>
              </a:rPr>
              <a:t>Apophis Mission Hardware</a:t>
            </a:r>
            <a:endParaRPr lang="en-US" sz="2185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0" name="In collaboration with Caltech JPL Rocket Lab and CNES"/>
          <p:cNvSpPr/>
          <p:nvPr/>
        </p:nvSpPr>
        <p:spPr>
          <a:xfrm>
            <a:off x="556262" y="1841501"/>
            <a:ext cx="3600883" cy="112508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51">
              <a:lnSpc>
                <a:spcPts val="2062"/>
              </a:lnSpc>
            </a:pPr>
            <a:r>
              <a:rPr lang="en-US" sz="1704">
                <a:solidFill>
                  <a:srgbClr val="FFFFFF"/>
                </a:solidFill>
                <a:latin typeface="Helvetica Now Var Display ExtraLight" pitchFamily="34" charset="0"/>
                <a:ea typeface="Helvetica Now Var Display ExtraLight" pitchFamily="34" charset="-122"/>
                <a:cs typeface="Helvetica Now Var Display ExtraLight" pitchFamily="34" charset="-120"/>
              </a:rPr>
              <a:t>Collaboration of Caltech, JPL, and Rocket Lab</a:t>
            </a:r>
            <a:endParaRPr lang="en-US" sz="1704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1" name="Mothership"/>
          <p:cNvSpPr/>
          <p:nvPr/>
        </p:nvSpPr>
        <p:spPr>
          <a:xfrm>
            <a:off x="5881508" y="768183"/>
            <a:ext cx="825500" cy="2063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51">
              <a:lnSpc>
                <a:spcPts val="1375"/>
              </a:lnSpc>
            </a:pPr>
            <a:r>
              <a:rPr lang="en-US" sz="1125">
                <a:solidFill>
                  <a:srgbClr val="FFFFFF"/>
                </a:solidFill>
                <a:latin typeface="Helvetica Now Var Text Bold" pitchFamily="34" charset="0"/>
                <a:ea typeface="Helvetica Now Var Text Bold" pitchFamily="34" charset="-122"/>
                <a:cs typeface="Helvetica Now Var Text Bold" pitchFamily="34" charset="-120"/>
              </a:rPr>
              <a:t>Mothership</a:t>
            </a:r>
            <a:endParaRPr lang="en-US" sz="1125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2" name="Mothership Payload"/>
          <p:cNvSpPr/>
          <p:nvPr/>
        </p:nvSpPr>
        <p:spPr>
          <a:xfrm>
            <a:off x="5961853" y="2171373"/>
            <a:ext cx="1428750" cy="2063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51">
              <a:lnSpc>
                <a:spcPts val="1375"/>
              </a:lnSpc>
            </a:pPr>
            <a:r>
              <a:rPr lang="en-US" sz="1125">
                <a:solidFill>
                  <a:srgbClr val="FFFFFF"/>
                </a:solidFill>
                <a:latin typeface="Helvetica Now Var Text Bold" pitchFamily="34" charset="0"/>
                <a:ea typeface="Helvetica Now Var Text Bold" pitchFamily="34" charset="-122"/>
                <a:cs typeface="Helvetica Now Var Text Bold" pitchFamily="34" charset="-120"/>
              </a:rPr>
              <a:t>Mothership Payload</a:t>
            </a:r>
            <a:endParaRPr lang="en-US" sz="1125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3" name="Deliveries to CubeSat Vendor"/>
          <p:cNvSpPr/>
          <p:nvPr/>
        </p:nvSpPr>
        <p:spPr>
          <a:xfrm>
            <a:off x="7428430" y="3407160"/>
            <a:ext cx="1433028" cy="3175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51">
              <a:lnSpc>
                <a:spcPts val="1250"/>
              </a:lnSpc>
            </a:pPr>
            <a:r>
              <a:rPr lang="en-US" sz="1125">
                <a:solidFill>
                  <a:srgbClr val="FFFFFF"/>
                </a:solidFill>
                <a:latin typeface="Helvetica Now Var Text Bold" pitchFamily="34" charset="0"/>
                <a:ea typeface="Helvetica Now Var Text Bold" pitchFamily="34" charset="-122"/>
                <a:cs typeface="Helvetica Now Var Text Bold" pitchFamily="34" charset="-120"/>
              </a:rPr>
              <a:t>Deliveries to CubeSat Vendor</a:t>
            </a:r>
            <a:endParaRPr lang="en-US" sz="1125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4" name="name_2X CubeSat"/>
          <p:cNvSpPr/>
          <p:nvPr/>
        </p:nvSpPr>
        <p:spPr>
          <a:xfrm>
            <a:off x="5961855" y="3407161"/>
            <a:ext cx="881063" cy="2063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51">
              <a:lnSpc>
                <a:spcPts val="1375"/>
              </a:lnSpc>
            </a:pPr>
            <a:r>
              <a:rPr lang="en-US" sz="1125">
                <a:solidFill>
                  <a:srgbClr val="FFFFFF"/>
                </a:solidFill>
                <a:latin typeface="Helvetica Now Var Text Bold" pitchFamily="34" charset="0"/>
                <a:ea typeface="Helvetica Now Var Text Bold" pitchFamily="34" charset="-122"/>
                <a:cs typeface="Helvetica Now Var Text Bold" pitchFamily="34" charset="-120"/>
              </a:rPr>
              <a:t>2X CubeSat</a:t>
            </a:r>
            <a:endParaRPr lang="en-US" sz="1125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5" name="Rocket Lab"/>
          <p:cNvSpPr/>
          <p:nvPr/>
        </p:nvSpPr>
        <p:spPr>
          <a:xfrm>
            <a:off x="4250532" y="4554125"/>
            <a:ext cx="674688" cy="1428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51">
              <a:lnSpc>
                <a:spcPts val="937"/>
              </a:lnSpc>
            </a:pPr>
            <a:r>
              <a:rPr lang="en-US" sz="750">
                <a:solidFill>
                  <a:srgbClr val="FFFFFF"/>
                </a:solidFill>
                <a:latin typeface="Helvetica Now Var Text" pitchFamily="34" charset="0"/>
                <a:ea typeface="Helvetica Now Var Text" pitchFamily="34" charset="-122"/>
                <a:cs typeface="Helvetica Now Var Text" pitchFamily="34" charset="-120"/>
              </a:rPr>
              <a:t>ROCKET LAB</a:t>
            </a:r>
            <a:endParaRPr lang="en-US" sz="7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6" name="Rocket Lab"/>
          <p:cNvSpPr/>
          <p:nvPr/>
        </p:nvSpPr>
        <p:spPr>
          <a:xfrm>
            <a:off x="5949731" y="1653637"/>
            <a:ext cx="714485" cy="138297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51">
              <a:lnSpc>
                <a:spcPts val="750"/>
              </a:lnSpc>
            </a:pPr>
            <a:r>
              <a:rPr lang="en-US" sz="625" b="1">
                <a:solidFill>
                  <a:prstClr val="black"/>
                </a:solidFill>
                <a:latin typeface="Helvetica Now Var Text" pitchFamily="34" charset="0"/>
                <a:ea typeface="Helvetica Now Var Text" pitchFamily="34" charset="-122"/>
                <a:cs typeface="Helvetica Now Var Text" pitchFamily="34" charset="-120"/>
              </a:rPr>
              <a:t>ROCKET LAB</a:t>
            </a:r>
            <a:endParaRPr lang="en-US" sz="625" b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7" name="CNES inter-satellite link ISL"/>
          <p:cNvSpPr/>
          <p:nvPr/>
        </p:nvSpPr>
        <p:spPr>
          <a:xfrm>
            <a:off x="5953125" y="2960689"/>
            <a:ext cx="834228" cy="20873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51">
              <a:lnSpc>
                <a:spcPts val="812"/>
              </a:lnSpc>
            </a:pPr>
            <a:r>
              <a:rPr lang="en-US" sz="625">
                <a:solidFill>
                  <a:srgbClr val="FFFFFF"/>
                </a:solidFill>
                <a:latin typeface="Helvetica Now Var Text ExtraBold" pitchFamily="34" charset="0"/>
                <a:ea typeface="Helvetica Now Var Text ExtraBold" pitchFamily="34" charset="-122"/>
                <a:cs typeface="Helvetica Now Var Text ExtraBold" pitchFamily="34" charset="-120"/>
              </a:rPr>
              <a:t>TEKEVER:</a:t>
            </a:r>
            <a:r>
              <a:rPr lang="en-US" sz="625">
                <a:solidFill>
                  <a:srgbClr val="33C8ED"/>
                </a:solidFill>
                <a:latin typeface="Helvetica Now Var Text" pitchFamily="34" charset="0"/>
                <a:ea typeface="Helvetica Now Var Text" pitchFamily="34" charset="-122"/>
                <a:cs typeface="Helvetica Now Var Text" pitchFamily="34" charset="-120"/>
              </a:rPr>
              <a:t> INTER-SATELLITE LINK (ISL)</a:t>
            </a:r>
            <a:endParaRPr lang="en-US" sz="625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8" name="CNES inter-satellite link ISL Emtronix Subsurface radar Sodern nav Camera T4i Propulsion module"/>
          <p:cNvSpPr/>
          <p:nvPr/>
        </p:nvSpPr>
        <p:spPr>
          <a:xfrm>
            <a:off x="7440523" y="3850719"/>
            <a:ext cx="1551873" cy="57943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51">
              <a:lnSpc>
                <a:spcPts val="812"/>
              </a:lnSpc>
              <a:spcAft>
                <a:spcPts val="437"/>
              </a:spcAft>
            </a:pPr>
            <a:r>
              <a:rPr lang="en-US" sz="625">
                <a:solidFill>
                  <a:srgbClr val="FFFFFF"/>
                </a:solidFill>
                <a:latin typeface="Helvetica Now Var Text ExtraBold" pitchFamily="34" charset="0"/>
                <a:ea typeface="Helvetica Now Var Text ExtraBold" pitchFamily="34" charset="-122"/>
                <a:cs typeface="Helvetica Now Var Text ExtraBold" pitchFamily="34" charset="-120"/>
              </a:rPr>
              <a:t>TEKEVER:</a:t>
            </a:r>
            <a:r>
              <a:rPr lang="en-US" sz="625">
                <a:solidFill>
                  <a:srgbClr val="33C8ED"/>
                </a:solidFill>
                <a:latin typeface="Helvetica Neue Light" pitchFamily="34" charset="0"/>
                <a:ea typeface="Helvetica Neue Light" pitchFamily="34" charset="-122"/>
                <a:cs typeface="Helvetica Neue Light" pitchFamily="34" charset="-120"/>
              </a:rPr>
              <a:t> </a:t>
            </a:r>
            <a:r>
              <a:rPr lang="en-US" sz="625">
                <a:solidFill>
                  <a:srgbClr val="33C8ED"/>
                </a:solidFill>
                <a:latin typeface="Helvetica Neue Regular" pitchFamily="34" charset="0"/>
                <a:ea typeface="Helvetica Neue Regular" pitchFamily="34" charset="-122"/>
                <a:cs typeface="Helvetica Neue Regular" pitchFamily="34" charset="-120"/>
              </a:rPr>
              <a:t>INTER-SATELLITE LINK (ISL)
</a:t>
            </a:r>
            <a:r>
              <a:rPr lang="en-US" sz="625">
                <a:solidFill>
                  <a:srgbClr val="FFFFFF"/>
                </a:solidFill>
                <a:latin typeface="Helvetica Now Var Text ExtraBold" pitchFamily="34" charset="0"/>
                <a:ea typeface="Helvetica Now Var Text ExtraBold" pitchFamily="34" charset="-122"/>
                <a:cs typeface="Helvetica Now Var Text ExtraBold" pitchFamily="34" charset="-120"/>
              </a:rPr>
              <a:t>EMTRONIX:</a:t>
            </a:r>
            <a:r>
              <a:rPr lang="en-US" sz="625">
                <a:solidFill>
                  <a:srgbClr val="33C8ED"/>
                </a:solidFill>
                <a:latin typeface="Helvetica Neue Light" pitchFamily="34" charset="0"/>
                <a:ea typeface="Helvetica Neue Light" pitchFamily="34" charset="-122"/>
                <a:cs typeface="Helvetica Neue Light" pitchFamily="34" charset="-120"/>
              </a:rPr>
              <a:t> </a:t>
            </a:r>
            <a:r>
              <a:rPr lang="en-US" sz="625">
                <a:solidFill>
                  <a:srgbClr val="33C8ED"/>
                </a:solidFill>
                <a:latin typeface="Helvetica Neue Regular" pitchFamily="34" charset="0"/>
                <a:ea typeface="Helvetica Neue Regular" pitchFamily="34" charset="-122"/>
                <a:cs typeface="Helvetica Neue Regular" pitchFamily="34" charset="-120"/>
              </a:rPr>
              <a:t>BI-STATIC RADAR
</a:t>
            </a:r>
            <a:r>
              <a:rPr lang="en-US" sz="625">
                <a:solidFill>
                  <a:srgbClr val="FFFFFF"/>
                </a:solidFill>
                <a:latin typeface="Helvetica Now Var Text ExtraBold" pitchFamily="34" charset="0"/>
                <a:ea typeface="Helvetica Now Var Text ExtraBold" pitchFamily="34" charset="-122"/>
                <a:cs typeface="Helvetica Now Var Text ExtraBold" pitchFamily="34" charset="-120"/>
              </a:rPr>
              <a:t>SODERN:</a:t>
            </a:r>
            <a:r>
              <a:rPr lang="en-US" sz="625">
                <a:solidFill>
                  <a:srgbClr val="33C8ED"/>
                </a:solidFill>
                <a:latin typeface="Helvetica Neue Light" pitchFamily="34" charset="0"/>
                <a:ea typeface="Helvetica Neue Light" pitchFamily="34" charset="-122"/>
                <a:cs typeface="Helvetica Neue Light" pitchFamily="34" charset="-120"/>
              </a:rPr>
              <a:t> </a:t>
            </a:r>
            <a:r>
              <a:rPr lang="en-US" sz="625">
                <a:solidFill>
                  <a:srgbClr val="33C8ED"/>
                </a:solidFill>
                <a:latin typeface="Helvetica Neue Regular" pitchFamily="34" charset="0"/>
                <a:ea typeface="Helvetica Neue Regular" pitchFamily="34" charset="-122"/>
                <a:cs typeface="Helvetica Neue Regular" pitchFamily="34" charset="-120"/>
              </a:rPr>
              <a:t>NAV CAMERA
</a:t>
            </a:r>
            <a:r>
              <a:rPr lang="en-US" sz="625">
                <a:solidFill>
                  <a:srgbClr val="FFFFFF"/>
                </a:solidFill>
                <a:latin typeface="Helvetica Now Var Text ExtraBold" pitchFamily="34" charset="0"/>
                <a:ea typeface="Helvetica Now Var Text ExtraBold" pitchFamily="34" charset="-122"/>
                <a:cs typeface="Helvetica Now Var Text ExtraBold" pitchFamily="34" charset="-120"/>
              </a:rPr>
              <a:t>T4i:</a:t>
            </a:r>
            <a:r>
              <a:rPr lang="en-US" sz="625">
                <a:solidFill>
                  <a:srgbClr val="33C8ED"/>
                </a:solidFill>
                <a:latin typeface="Helvetica Neue Light" pitchFamily="34" charset="0"/>
                <a:ea typeface="Helvetica Neue Light" pitchFamily="34" charset="-122"/>
                <a:cs typeface="Helvetica Neue Light" pitchFamily="34" charset="-120"/>
              </a:rPr>
              <a:t> </a:t>
            </a:r>
            <a:r>
              <a:rPr lang="en-US" sz="625">
                <a:solidFill>
                  <a:srgbClr val="33C8ED"/>
                </a:solidFill>
                <a:latin typeface="Helvetica Neue Regular" pitchFamily="34" charset="0"/>
                <a:ea typeface="Helvetica Neue Regular" pitchFamily="34" charset="-122"/>
                <a:cs typeface="Helvetica Neue Regular" pitchFamily="34" charset="-120"/>
              </a:rPr>
              <a:t>PROPULSION MODULE</a:t>
            </a:r>
            <a:endParaRPr lang="en-US" sz="625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9" name="TBD Science and publicity Cameras"/>
          <p:cNvSpPr/>
          <p:nvPr/>
        </p:nvSpPr>
        <p:spPr>
          <a:xfrm>
            <a:off x="6929439" y="2960689"/>
            <a:ext cx="833423" cy="37306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51">
              <a:lnSpc>
                <a:spcPts val="812"/>
              </a:lnSpc>
            </a:pPr>
            <a:r>
              <a:rPr lang="en-US" sz="625">
                <a:solidFill>
                  <a:srgbClr val="FFFFFF"/>
                </a:solidFill>
                <a:latin typeface="Helvetica Now Var Text ExtraBold" pitchFamily="34" charset="0"/>
                <a:ea typeface="Helvetica Now Var Text ExtraBold" pitchFamily="34" charset="-122"/>
                <a:cs typeface="Helvetica Now Var Text ExtraBold" pitchFamily="34" charset="-120"/>
              </a:rPr>
              <a:t>JPL &amp; SCANWAY:</a:t>
            </a:r>
            <a:r>
              <a:rPr lang="en-US" sz="625">
                <a:solidFill>
                  <a:srgbClr val="33C8ED"/>
                </a:solidFill>
                <a:latin typeface="Helvetica Neue Regular" pitchFamily="34" charset="0"/>
                <a:ea typeface="Helvetica Neue Regular" pitchFamily="34" charset="-122"/>
                <a:cs typeface="Helvetica Neue Regular" pitchFamily="34" charset="-120"/>
              </a:rPr>
              <a:t> SCIENCE/PUBLICITY &amp; NAV CAMERAS</a:t>
            </a:r>
            <a:endParaRPr lang="en-US" sz="625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0" name="Rocket Lab 2x CubeSat dispenser"/>
          <p:cNvSpPr/>
          <p:nvPr/>
        </p:nvSpPr>
        <p:spPr>
          <a:xfrm>
            <a:off x="7969251" y="2960688"/>
            <a:ext cx="642938" cy="10318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51">
              <a:lnSpc>
                <a:spcPts val="812"/>
              </a:lnSpc>
            </a:pPr>
            <a:r>
              <a:rPr lang="en-US" sz="625">
                <a:solidFill>
                  <a:srgbClr val="FFFFFF"/>
                </a:solidFill>
                <a:latin typeface="Helvetica Now Var Text ExtraBold" pitchFamily="34" charset="0"/>
                <a:ea typeface="Helvetica Now Var Text ExtraBold" pitchFamily="34" charset="-122"/>
                <a:cs typeface="Helvetica Now Var Text ExtraBold" pitchFamily="34" charset="-120"/>
              </a:rPr>
              <a:t>RL:</a:t>
            </a:r>
            <a:r>
              <a:rPr lang="en-US" sz="625">
                <a:solidFill>
                  <a:srgbClr val="33C8ED"/>
                </a:solidFill>
                <a:latin typeface="Helvetica Now Var Text" pitchFamily="34" charset="0"/>
                <a:ea typeface="Helvetica Now Var Text" pitchFamily="34" charset="-122"/>
                <a:cs typeface="Helvetica Now Var Text" pitchFamily="34" charset="-120"/>
              </a:rPr>
              <a:t> 2X CUBESAT DISPENSER</a:t>
            </a:r>
            <a:endParaRPr lang="en-US" sz="625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1" name="Launch"/>
          <p:cNvSpPr/>
          <p:nvPr/>
        </p:nvSpPr>
        <p:spPr>
          <a:xfrm>
            <a:off x="773519" y="2643189"/>
            <a:ext cx="3379947" cy="18256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51">
              <a:lnSpc>
                <a:spcPts val="1437"/>
              </a:lnSpc>
            </a:pPr>
            <a:r>
              <a:rPr lang="en-US" sz="1185">
                <a:solidFill>
                  <a:srgbClr val="FFFFFF"/>
                </a:solidFill>
                <a:latin typeface="Helvetica Neue Thin" pitchFamily="34" charset="0"/>
                <a:ea typeface="Helvetica Neue Thin" pitchFamily="34" charset="-122"/>
                <a:cs typeface="Helvetica Neue Thin" pitchFamily="34" charset="-120"/>
              </a:rPr>
              <a:t>Launch </a:t>
            </a:r>
            <a:endParaRPr lang="en-US" sz="1185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2" name="April 2028"/>
          <p:cNvSpPr/>
          <p:nvPr/>
        </p:nvSpPr>
        <p:spPr>
          <a:xfrm>
            <a:off x="773519" y="2846793"/>
            <a:ext cx="3026117" cy="1746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51">
              <a:lnSpc>
                <a:spcPts val="1125"/>
              </a:lnSpc>
              <a:spcAft>
                <a:spcPts val="937"/>
              </a:spcAft>
            </a:pPr>
            <a:r>
              <a:rPr lang="en-US" sz="900">
                <a:solidFill>
                  <a:srgbClr val="33C8ED"/>
                </a:solidFill>
                <a:latin typeface="Helvetica Now Var Text ExtraLight"/>
                <a:ea typeface="Helvetica Now Var Text ExtraLight"/>
              </a:rPr>
              <a:t>Jan-Feb 2028</a:t>
            </a:r>
          </a:p>
        </p:txBody>
      </p:sp>
      <p:sp>
        <p:nvSpPr>
          <p:cNvPr id="33" name="Rendezvous with Apophis"/>
          <p:cNvSpPr/>
          <p:nvPr/>
        </p:nvSpPr>
        <p:spPr>
          <a:xfrm>
            <a:off x="773519" y="3153111"/>
            <a:ext cx="3379947" cy="18256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51">
              <a:lnSpc>
                <a:spcPts val="1437"/>
              </a:lnSpc>
            </a:pPr>
            <a:r>
              <a:rPr lang="en-US" sz="1185">
                <a:solidFill>
                  <a:srgbClr val="FFFFFF"/>
                </a:solidFill>
                <a:latin typeface="Helvetica Neue Thin" pitchFamily="34" charset="0"/>
                <a:ea typeface="Helvetica Neue Thin" pitchFamily="34" charset="-122"/>
                <a:cs typeface="Helvetica Neue Thin" pitchFamily="34" charset="-120"/>
              </a:rPr>
              <a:t>Rendezvous with Apophis</a:t>
            </a:r>
            <a:endParaRPr lang="en-US" sz="1185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4" name="February 2029"/>
          <p:cNvSpPr/>
          <p:nvPr/>
        </p:nvSpPr>
        <p:spPr>
          <a:xfrm>
            <a:off x="773519" y="3380803"/>
            <a:ext cx="3026117" cy="1746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51">
              <a:lnSpc>
                <a:spcPts val="1125"/>
              </a:lnSpc>
              <a:spcAft>
                <a:spcPts val="937"/>
              </a:spcAft>
            </a:pPr>
            <a:r>
              <a:rPr lang="en-US" sz="928">
                <a:solidFill>
                  <a:srgbClr val="33C8ED"/>
                </a:solidFill>
                <a:latin typeface="Helvetica Now Var Text ExtraLight" pitchFamily="34" charset="0"/>
                <a:ea typeface="Helvetica Now Var Text ExtraLight" pitchFamily="34" charset="-122"/>
                <a:cs typeface="Helvetica Now Var Text ExtraLight" pitchFamily="34" charset="-120"/>
              </a:rPr>
              <a:t>February 2029</a:t>
            </a:r>
            <a:endParaRPr lang="en-US" sz="928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5" name="Deploy CubeSats after closest approach"/>
          <p:cNvSpPr/>
          <p:nvPr/>
        </p:nvSpPr>
        <p:spPr>
          <a:xfrm>
            <a:off x="773519" y="3726805"/>
            <a:ext cx="3379947" cy="18256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51">
              <a:lnSpc>
                <a:spcPts val="1437"/>
              </a:lnSpc>
            </a:pPr>
            <a:r>
              <a:rPr lang="en-US" sz="1185">
                <a:solidFill>
                  <a:srgbClr val="FFFFFF"/>
                </a:solidFill>
                <a:latin typeface="Helvetica Neue Thin" pitchFamily="34" charset="0"/>
                <a:ea typeface="Helvetica Neue Thin" pitchFamily="34" charset="-122"/>
                <a:cs typeface="Helvetica Neue Thin" pitchFamily="34" charset="-120"/>
              </a:rPr>
              <a:t>Deploy CubeSats after closest approach</a:t>
            </a:r>
            <a:endParaRPr lang="en-US" sz="1185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6" name="Q3 2029"/>
          <p:cNvSpPr/>
          <p:nvPr/>
        </p:nvSpPr>
        <p:spPr>
          <a:xfrm>
            <a:off x="773519" y="3948574"/>
            <a:ext cx="3026117" cy="1746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51">
              <a:lnSpc>
                <a:spcPts val="1125"/>
              </a:lnSpc>
              <a:spcAft>
                <a:spcPts val="937"/>
              </a:spcAft>
            </a:pPr>
            <a:r>
              <a:rPr lang="en-US" sz="928">
                <a:solidFill>
                  <a:srgbClr val="33C8ED"/>
                </a:solidFill>
                <a:latin typeface="Helvetica Now Var Text ExtraLight" pitchFamily="34" charset="0"/>
                <a:ea typeface="Helvetica Now Var Text ExtraLight" pitchFamily="34" charset="-122"/>
                <a:cs typeface="Helvetica Now Var Text ExtraLight" pitchFamily="34" charset="-120"/>
              </a:rPr>
              <a:t>Q3 2029</a:t>
            </a:r>
            <a:endParaRPr lang="en-US" sz="928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7" name="PAGE 14"/>
          <p:cNvSpPr/>
          <p:nvPr/>
        </p:nvSpPr>
        <p:spPr>
          <a:xfrm>
            <a:off x="4333876" y="30147"/>
            <a:ext cx="476325" cy="119063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defTabSz="761951">
              <a:lnSpc>
                <a:spcPts val="750"/>
              </a:lnSpc>
            </a:pPr>
            <a:r>
              <a:rPr lang="en-US" sz="625">
                <a:solidFill>
                  <a:srgbClr val="FFFFFF"/>
                </a:solidFill>
                <a:latin typeface="Helvetica Now Var Text Light" pitchFamily="34" charset="0"/>
                <a:ea typeface="Helvetica Now Var Text Light" pitchFamily="34" charset="-122"/>
                <a:cs typeface="Helvetica Now Var Text Light" pitchFamily="34" charset="-120"/>
              </a:rPr>
              <a:t>PAGE</a:t>
            </a:r>
            <a:endParaRPr lang="en-US" sz="625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9" name="name_2025"/>
          <p:cNvSpPr/>
          <p:nvPr/>
        </p:nvSpPr>
        <p:spPr>
          <a:xfrm>
            <a:off x="8826501" y="18240"/>
            <a:ext cx="246118" cy="14288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r" defTabSz="761951">
              <a:lnSpc>
                <a:spcPts val="937"/>
              </a:lnSpc>
            </a:pPr>
            <a:r>
              <a:rPr lang="en-US" sz="750" kern="0" spc="-125">
                <a:solidFill>
                  <a:srgbClr val="FFFFFF"/>
                </a:solidFill>
                <a:latin typeface="Helvetica Now Var Text ExtraLight" pitchFamily="34" charset="0"/>
                <a:ea typeface="Helvetica Now Var Text ExtraLight" pitchFamily="34" charset="-122"/>
                <a:cs typeface="Helvetica Now Var Text ExtraLight" pitchFamily="34" charset="-120"/>
              </a:rPr>
              <a:t>2025</a:t>
            </a:r>
            <a:endParaRPr lang="en-US" sz="75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0" name="MISSON TO APOPHIS"/>
          <p:cNvSpPr/>
          <p:nvPr/>
        </p:nvSpPr>
        <p:spPr>
          <a:xfrm>
            <a:off x="39705" y="30146"/>
            <a:ext cx="921836" cy="11907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defTabSz="761951">
              <a:lnSpc>
                <a:spcPts val="750"/>
              </a:lnSpc>
            </a:pPr>
            <a:r>
              <a:rPr lang="en-US" sz="625">
                <a:solidFill>
                  <a:srgbClr val="FFFFFF"/>
                </a:solidFill>
                <a:latin typeface="Helvetica Now Var Text Light" pitchFamily="34" charset="0"/>
                <a:ea typeface="Helvetica Now Var Text Light" pitchFamily="34" charset="-122"/>
                <a:cs typeface="Helvetica Now Var Text Light" pitchFamily="34" charset="-120"/>
              </a:rPr>
              <a:t>MISSON TO APOPHIS</a:t>
            </a:r>
            <a:endParaRPr lang="en-US" sz="625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7E4490C-34BE-2271-AE1E-AF3DCD1EC205}"/>
              </a:ext>
            </a:extLst>
          </p:cNvPr>
          <p:cNvSpPr txBox="1"/>
          <p:nvPr/>
        </p:nvSpPr>
        <p:spPr>
          <a:xfrm>
            <a:off x="2035457" y="4782188"/>
            <a:ext cx="5104839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 defTabSz="685800"/>
            <a:r>
              <a:rPr lang="en-US" sz="600">
                <a:solidFill>
                  <a:prstClr val="white">
                    <a:lumMod val="65000"/>
                  </a:prstClr>
                </a:solidFill>
                <a:latin typeface="Aptos" panose="02110004020202020204"/>
                <a:cs typeface="Calibri"/>
              </a:rPr>
              <a:t>CONFIDENTIAL</a:t>
            </a:r>
          </a:p>
          <a:p>
            <a:pPr algn="ctr" defTabSz="685800"/>
            <a:r>
              <a:rPr lang="en-US" sz="600">
                <a:solidFill>
                  <a:prstClr val="white">
                    <a:lumMod val="65000"/>
                  </a:prstClr>
                </a:solidFill>
                <a:latin typeface="Aptos" panose="02110004020202020204"/>
                <a:cs typeface="Calibri"/>
              </a:rPr>
              <a:t>JPL Proprietary Business Discreet</a:t>
            </a:r>
          </a:p>
          <a:p>
            <a:pPr algn="ctr" defTabSz="685800"/>
            <a:r>
              <a:rPr lang="en-US" sz="600">
                <a:solidFill>
                  <a:prstClr val="white">
                    <a:lumMod val="65000"/>
                  </a:prstClr>
                </a:solidFill>
                <a:latin typeface="Aptos" panose="02110004020202020204"/>
                <a:cs typeface="Calibri"/>
              </a:rPr>
              <a:t>Not Reviewed for Export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774D1B6F-0CD5-723B-88F8-0D972011136B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8782784" y="4967896"/>
            <a:ext cx="333550" cy="145458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050765C6-7ABE-7C4A-8F28-4392AE574066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41688" y="4963321"/>
            <a:ext cx="442597" cy="150033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D3861B15-2C3C-5915-2031-A5017A737243}"/>
              </a:ext>
            </a:extLst>
          </p:cNvPr>
          <p:cNvSpPr txBox="1"/>
          <p:nvPr/>
        </p:nvSpPr>
        <p:spPr>
          <a:xfrm>
            <a:off x="4542897" y="-5047"/>
            <a:ext cx="267304" cy="3348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/>
            <a:fld id="{5C45B2F5-57CC-EE4A-B703-F48B6F440E71}" type="slidenum">
              <a:rPr lang="en-US" sz="788">
                <a:solidFill>
                  <a:srgbClr val="F34721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pPr defTabSz="685800"/>
              <a:t>7</a:t>
            </a:fld>
            <a:endParaRPr lang="en-US" sz="788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46" name="CNES inter-satellite link ISL">
            <a:extLst>
              <a:ext uri="{FF2B5EF4-FFF2-40B4-BE49-F238E27FC236}">
                <a16:creationId xmlns:a16="http://schemas.microsoft.com/office/drawing/2014/main" id="{6B59E6AA-7560-3CDA-C2BD-FF67D070AEC4}"/>
              </a:ext>
            </a:extLst>
          </p:cNvPr>
          <p:cNvSpPr/>
          <p:nvPr/>
        </p:nvSpPr>
        <p:spPr>
          <a:xfrm>
            <a:off x="5961853" y="1640940"/>
            <a:ext cx="834228" cy="132472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51">
              <a:lnSpc>
                <a:spcPts val="812"/>
              </a:lnSpc>
            </a:pPr>
            <a:r>
              <a:rPr lang="en-US" sz="625">
                <a:solidFill>
                  <a:srgbClr val="33C8ED"/>
                </a:solidFill>
                <a:latin typeface="Helvetica Now Var Text" pitchFamily="34" charset="0"/>
                <a:ea typeface="Helvetica Now Var Text" pitchFamily="34" charset="-122"/>
                <a:cs typeface="Helvetica Now Var Text" pitchFamily="34" charset="-120"/>
              </a:rPr>
              <a:t>ROCKET LAB</a:t>
            </a:r>
            <a:endParaRPr lang="en-US" sz="625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8" name="CNES inter-satellite link ISL">
            <a:extLst>
              <a:ext uri="{FF2B5EF4-FFF2-40B4-BE49-F238E27FC236}">
                <a16:creationId xmlns:a16="http://schemas.microsoft.com/office/drawing/2014/main" id="{C64DFB79-3F5C-579B-C7D7-4324172D2F88}"/>
              </a:ext>
            </a:extLst>
          </p:cNvPr>
          <p:cNvSpPr/>
          <p:nvPr/>
        </p:nvSpPr>
        <p:spPr>
          <a:xfrm>
            <a:off x="6787353" y="4344984"/>
            <a:ext cx="834228" cy="132472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51">
              <a:lnSpc>
                <a:spcPts val="812"/>
              </a:lnSpc>
            </a:pPr>
            <a:r>
              <a:rPr lang="en-US" sz="625">
                <a:solidFill>
                  <a:srgbClr val="33C8ED"/>
                </a:solidFill>
                <a:latin typeface="Helvetica Now Var Text" pitchFamily="34" charset="0"/>
                <a:ea typeface="Helvetica Now Var Text" pitchFamily="34" charset="-122"/>
                <a:cs typeface="Helvetica Now Var Text" pitchFamily="34" charset="-120"/>
              </a:rPr>
              <a:t>ARGOTEC</a:t>
            </a:r>
            <a:endParaRPr lang="en-US" sz="625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" name="Star: 5 Points 7">
            <a:extLst>
              <a:ext uri="{FF2B5EF4-FFF2-40B4-BE49-F238E27FC236}">
                <a16:creationId xmlns:a16="http://schemas.microsoft.com/office/drawing/2014/main" id="{B80C5EEF-17BC-83F3-9662-7552C493CE8C}"/>
              </a:ext>
            </a:extLst>
          </p:cNvPr>
          <p:cNvSpPr/>
          <p:nvPr/>
        </p:nvSpPr>
        <p:spPr>
          <a:xfrm>
            <a:off x="71382" y="122603"/>
            <a:ext cx="328139" cy="370153"/>
          </a:xfrm>
          <a:prstGeom prst="star5">
            <a:avLst/>
          </a:prstGeom>
          <a:solidFill>
            <a:srgbClr val="92D050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Aptos" panose="02110004020202020204"/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95D5A6F9-961F-053C-1B94-361FDEBC4272}"/>
              </a:ext>
            </a:extLst>
          </p:cNvPr>
          <p:cNvPicPr>
            <a:picLocks noChangeAspect="1"/>
          </p:cNvPicPr>
          <p:nvPr/>
        </p:nvPicPr>
        <p:blipFill>
          <a:blip r:embed="rId24"/>
          <a:srcRect l="2983" t="3421" r="3088" b="4358"/>
          <a:stretch/>
        </p:blipFill>
        <p:spPr>
          <a:xfrm>
            <a:off x="6702352" y="842081"/>
            <a:ext cx="1707281" cy="1123900"/>
          </a:xfrm>
          <a:prstGeom prst="rect">
            <a:avLst/>
          </a:prstGeom>
          <a:ln>
            <a:noFill/>
          </a:ln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ACDF4259-9755-B887-E6E9-56F2B1457DA3}"/>
              </a:ext>
            </a:extLst>
          </p:cNvPr>
          <p:cNvSpPr/>
          <p:nvPr/>
        </p:nvSpPr>
        <p:spPr>
          <a:xfrm>
            <a:off x="5961853" y="1055527"/>
            <a:ext cx="742328" cy="55589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101CB248-4859-04A5-520D-4244675F888F}"/>
              </a:ext>
            </a:extLst>
          </p:cNvPr>
          <p:cNvSpPr/>
          <p:nvPr/>
        </p:nvSpPr>
        <p:spPr>
          <a:xfrm>
            <a:off x="8400281" y="934107"/>
            <a:ext cx="653316" cy="55589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38" name="Deploy CubeSats after closest approach">
            <a:extLst>
              <a:ext uri="{FF2B5EF4-FFF2-40B4-BE49-F238E27FC236}">
                <a16:creationId xmlns:a16="http://schemas.microsoft.com/office/drawing/2014/main" id="{59EFC260-4CEC-1235-55C5-AD865F31BF63}"/>
              </a:ext>
            </a:extLst>
          </p:cNvPr>
          <p:cNvSpPr/>
          <p:nvPr/>
        </p:nvSpPr>
        <p:spPr>
          <a:xfrm>
            <a:off x="766067" y="4238074"/>
            <a:ext cx="3379947" cy="18256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51">
              <a:lnSpc>
                <a:spcPts val="1437"/>
              </a:lnSpc>
            </a:pPr>
            <a:r>
              <a:rPr lang="en-US" sz="1185">
                <a:solidFill>
                  <a:srgbClr val="FFFFFF"/>
                </a:solidFill>
                <a:latin typeface="Helvetica Neue Thin" pitchFamily="34" charset="0"/>
                <a:ea typeface="Helvetica Neue Thin" pitchFamily="34" charset="-122"/>
                <a:cs typeface="Helvetica Neue Thin" pitchFamily="34" charset="-120"/>
              </a:rPr>
              <a:t>Autonomous Formation Flying Experiment in the extended mission</a:t>
            </a:r>
            <a:endParaRPr lang="en-US" sz="1185">
              <a:solidFill>
                <a:prstClr val="black"/>
              </a:solidFill>
              <a:latin typeface="Calibri" panose="020F0502020204030204"/>
            </a:endParaRPr>
          </a:p>
        </p:txBody>
      </p:sp>
      <p:pic>
        <p:nvPicPr>
          <p:cNvPr id="52" name="Ellipse 153" descr="preencoded.png">
            <a:extLst>
              <a:ext uri="{FF2B5EF4-FFF2-40B4-BE49-F238E27FC236}">
                <a16:creationId xmlns:a16="http://schemas.microsoft.com/office/drawing/2014/main" id="{C22F57F4-7B39-AC43-7211-085CC7C7E462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rcRect/>
          <a:stretch/>
        </p:blipFill>
        <p:spPr>
          <a:xfrm>
            <a:off x="559906" y="4285476"/>
            <a:ext cx="111125" cy="111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5247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11" descr="preencoded.png"/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7175500" y="3008313"/>
            <a:ext cx="508000" cy="246063"/>
          </a:xfrm>
          <a:prstGeom prst="rect">
            <a:avLst/>
          </a:prstGeom>
        </p:spPr>
      </p:pic>
      <p:pic>
        <p:nvPicPr>
          <p:cNvPr id="3" name="avbb 7" descr="preencoded.png"/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1874460" y="3654440"/>
            <a:ext cx="494621" cy="502433"/>
          </a:xfrm>
          <a:prstGeom prst="rect">
            <a:avLst/>
          </a:prstGeom>
        </p:spPr>
      </p:pic>
      <p:pic>
        <p:nvPicPr>
          <p:cNvPr id="4" name="Mask group" descr="preencoded.png"/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364179" y="2912142"/>
            <a:ext cx="825500" cy="1524000"/>
          </a:xfrm>
          <a:prstGeom prst="rect">
            <a:avLst/>
          </a:prstGeom>
        </p:spPr>
      </p:pic>
      <p:pic>
        <p:nvPicPr>
          <p:cNvPr id="5" name="Mask group" descr="preencoded.png"/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3254779" y="2795453"/>
            <a:ext cx="1119188" cy="1111250"/>
          </a:xfrm>
          <a:prstGeom prst="rect">
            <a:avLst/>
          </a:prstGeom>
        </p:spPr>
      </p:pic>
      <p:pic>
        <p:nvPicPr>
          <p:cNvPr id="6" name="Group 206" descr="preencoded.png"/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6220039" y="2947274"/>
            <a:ext cx="2412998" cy="1516063"/>
          </a:xfrm>
          <a:prstGeom prst="rect">
            <a:avLst/>
          </a:prstGeom>
        </p:spPr>
      </p:pic>
      <p:pic>
        <p:nvPicPr>
          <p:cNvPr id="7" name="Group 333" descr="preencoded.png"/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41688" y="196617"/>
            <a:ext cx="9032875" cy="5064125"/>
          </a:xfrm>
          <a:prstGeom prst="rect">
            <a:avLst/>
          </a:prstGeom>
        </p:spPr>
      </p:pic>
      <p:pic>
        <p:nvPicPr>
          <p:cNvPr id="8" name="Group 334" descr="preencoded.png"/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4244128" y="1482596"/>
            <a:ext cx="659650" cy="659662"/>
          </a:xfrm>
          <a:prstGeom prst="rect">
            <a:avLst/>
          </a:prstGeom>
        </p:spPr>
      </p:pic>
      <p:pic>
        <p:nvPicPr>
          <p:cNvPr id="9" name="Group 336" descr="preencoded.png"/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2597842" y="2980797"/>
            <a:ext cx="267302" cy="267298"/>
          </a:xfrm>
          <a:prstGeom prst="rect">
            <a:avLst/>
          </a:prstGeom>
        </p:spPr>
      </p:pic>
      <p:pic>
        <p:nvPicPr>
          <p:cNvPr id="10" name="Vector" descr="preencoded.png"/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327872" y="1592742"/>
            <a:ext cx="8494241" cy="611189"/>
          </a:xfrm>
          <a:prstGeom prst="rect">
            <a:avLst/>
          </a:prstGeom>
        </p:spPr>
      </p:pic>
      <p:pic>
        <p:nvPicPr>
          <p:cNvPr id="11" name="Vector" descr="preencoded.png"/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6695095" y="1504955"/>
            <a:ext cx="2120428" cy="309485"/>
          </a:xfrm>
          <a:prstGeom prst="rect">
            <a:avLst/>
          </a:prstGeom>
        </p:spPr>
      </p:pic>
      <p:pic>
        <p:nvPicPr>
          <p:cNvPr id="12" name="Vector" descr="preencoded.png"/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1770636" y="1684188"/>
            <a:ext cx="7049616" cy="611189"/>
          </a:xfrm>
          <a:prstGeom prst="rect">
            <a:avLst/>
          </a:prstGeom>
        </p:spPr>
      </p:pic>
      <p:pic>
        <p:nvPicPr>
          <p:cNvPr id="13" name="Ellipse 142" descr="preencoded.png"/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/>
        </p:blipFill>
        <p:spPr>
          <a:xfrm>
            <a:off x="1690765" y="1762147"/>
            <a:ext cx="71438" cy="71438"/>
          </a:xfrm>
          <a:prstGeom prst="rect">
            <a:avLst/>
          </a:prstGeom>
        </p:spPr>
      </p:pic>
      <p:pic>
        <p:nvPicPr>
          <p:cNvPr id="14" name="Ellipse 183" descr="preencoded.png"/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rcRect/>
          <a:stretch/>
        </p:blipFill>
        <p:spPr>
          <a:xfrm>
            <a:off x="6659889" y="1862510"/>
            <a:ext cx="71438" cy="71438"/>
          </a:xfrm>
          <a:prstGeom prst="rect">
            <a:avLst/>
          </a:prstGeom>
        </p:spPr>
      </p:pic>
      <p:pic>
        <p:nvPicPr>
          <p:cNvPr id="15" name="Ellipse 177" descr="preencoded.png"/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rcRect/>
          <a:stretch/>
        </p:blipFill>
        <p:spPr>
          <a:xfrm>
            <a:off x="322942" y="1565114"/>
            <a:ext cx="71438" cy="71438"/>
          </a:xfrm>
          <a:prstGeom prst="rect">
            <a:avLst/>
          </a:prstGeom>
        </p:spPr>
      </p:pic>
      <p:pic>
        <p:nvPicPr>
          <p:cNvPr id="16" name="Ellipse 175" descr="preencoded.png"/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rcRect/>
          <a:stretch/>
        </p:blipFill>
        <p:spPr>
          <a:xfrm>
            <a:off x="3183264" y="1969279"/>
            <a:ext cx="71438" cy="71438"/>
          </a:xfrm>
          <a:prstGeom prst="rect">
            <a:avLst/>
          </a:prstGeom>
        </p:spPr>
      </p:pic>
      <p:pic>
        <p:nvPicPr>
          <p:cNvPr id="17" name="Ellipse 174" descr="preencoded.png"/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rcRect/>
          <a:stretch/>
        </p:blipFill>
        <p:spPr>
          <a:xfrm>
            <a:off x="4536250" y="2159814"/>
            <a:ext cx="71438" cy="71438"/>
          </a:xfrm>
          <a:prstGeom prst="rect">
            <a:avLst/>
          </a:prstGeom>
        </p:spPr>
      </p:pic>
      <p:pic>
        <p:nvPicPr>
          <p:cNvPr id="18" name="Ellipse 176" descr="preencoded.png"/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rcRect/>
          <a:stretch/>
        </p:blipFill>
        <p:spPr>
          <a:xfrm>
            <a:off x="7768704" y="1701384"/>
            <a:ext cx="71438" cy="71438"/>
          </a:xfrm>
          <a:prstGeom prst="rect">
            <a:avLst/>
          </a:prstGeom>
        </p:spPr>
      </p:pic>
      <p:pic>
        <p:nvPicPr>
          <p:cNvPr id="19" name="Group 22" descr="preencoded.png"/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rcRect/>
          <a:stretch/>
        </p:blipFill>
        <p:spPr>
          <a:xfrm>
            <a:off x="323500" y="1648255"/>
            <a:ext cx="309266" cy="120056"/>
          </a:xfrm>
          <a:prstGeom prst="rect">
            <a:avLst/>
          </a:prstGeom>
        </p:spPr>
      </p:pic>
      <p:pic>
        <p:nvPicPr>
          <p:cNvPr id="20" name="Group 335" descr="preencoded.png"/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rcRect/>
          <a:stretch/>
        </p:blipFill>
        <p:spPr>
          <a:xfrm>
            <a:off x="8513869" y="1748151"/>
            <a:ext cx="307878" cy="105963"/>
          </a:xfrm>
          <a:prstGeom prst="rect">
            <a:avLst/>
          </a:prstGeom>
        </p:spPr>
      </p:pic>
      <p:pic>
        <p:nvPicPr>
          <p:cNvPr id="21" name="Ellipse 168" descr="preencoded.png"/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rcRect/>
          <a:stretch/>
        </p:blipFill>
        <p:spPr>
          <a:xfrm>
            <a:off x="8170416" y="920118"/>
            <a:ext cx="87313" cy="87313"/>
          </a:xfrm>
          <a:prstGeom prst="rect">
            <a:avLst/>
          </a:prstGeom>
        </p:spPr>
      </p:pic>
      <p:pic>
        <p:nvPicPr>
          <p:cNvPr id="22" name="Rectangle 140" descr="preencoded.png"/>
          <p:cNvPicPr>
            <a:picLocks noChangeAspect="1"/>
          </p:cNvPicPr>
          <p:nvPr/>
        </p:nvPicPr>
        <p:blipFill>
          <a:blip r:embed="rId35"/>
          <a:srcRect/>
          <a:stretch/>
        </p:blipFill>
        <p:spPr>
          <a:xfrm>
            <a:off x="321547" y="2728680"/>
            <a:ext cx="2791953" cy="1910883"/>
          </a:xfrm>
          <a:prstGeom prst="rect">
            <a:avLst/>
          </a:prstGeom>
        </p:spPr>
      </p:pic>
      <p:pic>
        <p:nvPicPr>
          <p:cNvPr id="23" name="Rectangle 475" descr="preencoded.png"/>
          <p:cNvPicPr>
            <a:picLocks noChangeAspect="1"/>
          </p:cNvPicPr>
          <p:nvPr/>
        </p:nvPicPr>
        <p:blipFill>
          <a:blip r:embed="rId36"/>
          <a:srcRect/>
          <a:stretch/>
        </p:blipFill>
        <p:spPr>
          <a:xfrm>
            <a:off x="4386989" y="2053453"/>
            <a:ext cx="371481" cy="371473"/>
          </a:xfrm>
          <a:prstGeom prst="rect">
            <a:avLst/>
          </a:prstGeom>
        </p:spPr>
      </p:pic>
      <p:pic>
        <p:nvPicPr>
          <p:cNvPr id="24" name="Rectangle 473" descr="preencoded.png"/>
          <p:cNvPicPr>
            <a:picLocks noChangeAspect="1"/>
          </p:cNvPicPr>
          <p:nvPr/>
        </p:nvPicPr>
        <p:blipFill>
          <a:blip r:embed="rId37"/>
          <a:srcRect/>
          <a:stretch/>
        </p:blipFill>
        <p:spPr>
          <a:xfrm>
            <a:off x="3032466" y="1862165"/>
            <a:ext cx="371481" cy="371473"/>
          </a:xfrm>
          <a:prstGeom prst="rect">
            <a:avLst/>
          </a:prstGeom>
        </p:spPr>
      </p:pic>
      <p:pic>
        <p:nvPicPr>
          <p:cNvPr id="25" name="Rectangle 476" descr="preencoded.png"/>
          <p:cNvPicPr>
            <a:picLocks noChangeAspect="1"/>
          </p:cNvPicPr>
          <p:nvPr/>
        </p:nvPicPr>
        <p:blipFill>
          <a:blip r:embed="rId38"/>
          <a:srcRect/>
          <a:stretch/>
        </p:blipFill>
        <p:spPr>
          <a:xfrm>
            <a:off x="7587413" y="1531488"/>
            <a:ext cx="434981" cy="434973"/>
          </a:xfrm>
          <a:prstGeom prst="rect">
            <a:avLst/>
          </a:prstGeom>
        </p:spPr>
      </p:pic>
      <p:pic>
        <p:nvPicPr>
          <p:cNvPr id="26" name="Rectangle 470" descr="preencoded.png"/>
          <p:cNvPicPr>
            <a:picLocks noChangeAspect="1"/>
          </p:cNvPicPr>
          <p:nvPr/>
        </p:nvPicPr>
        <p:blipFill>
          <a:blip r:embed="rId39"/>
          <a:srcRect/>
          <a:stretch/>
        </p:blipFill>
        <p:spPr>
          <a:xfrm>
            <a:off x="3176380" y="2728680"/>
            <a:ext cx="2791953" cy="1910883"/>
          </a:xfrm>
          <a:prstGeom prst="rect">
            <a:avLst/>
          </a:prstGeom>
        </p:spPr>
      </p:pic>
      <p:pic>
        <p:nvPicPr>
          <p:cNvPr id="27" name="Rectangle 471" descr="preencoded.png"/>
          <p:cNvPicPr>
            <a:picLocks noChangeAspect="1"/>
          </p:cNvPicPr>
          <p:nvPr/>
        </p:nvPicPr>
        <p:blipFill>
          <a:blip r:embed="rId40"/>
          <a:srcRect/>
          <a:stretch/>
        </p:blipFill>
        <p:spPr>
          <a:xfrm>
            <a:off x="6031214" y="2728680"/>
            <a:ext cx="2791953" cy="1910883"/>
          </a:xfrm>
          <a:prstGeom prst="rect">
            <a:avLst/>
          </a:prstGeom>
        </p:spPr>
      </p:pic>
      <p:pic>
        <p:nvPicPr>
          <p:cNvPr id="28" name="Vector 213" descr="preencoded.png"/>
          <p:cNvPicPr>
            <a:picLocks noChangeAspect="1"/>
          </p:cNvPicPr>
          <p:nvPr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rcRect/>
          <a:stretch/>
        </p:blipFill>
        <p:spPr>
          <a:xfrm>
            <a:off x="1403279" y="1295731"/>
            <a:ext cx="3010839" cy="559102"/>
          </a:xfrm>
          <a:prstGeom prst="rect">
            <a:avLst/>
          </a:prstGeom>
        </p:spPr>
      </p:pic>
      <p:pic>
        <p:nvPicPr>
          <p:cNvPr id="29" name="Vector 214" descr="preencoded.png"/>
          <p:cNvPicPr>
            <a:picLocks noChangeAspect="1"/>
          </p:cNvPicPr>
          <p:nvPr/>
        </p:nvPicPr>
        <p:blipFill>
          <a:blip r:embed="rId43">
            <a:extLst>
              <a:ext uri="{96DAC541-7B7A-43D3-8B79-37D633B846F1}">
                <asvg:svgBlip xmlns:asvg="http://schemas.microsoft.com/office/drawing/2016/SVG/main" r:embed="rId44"/>
              </a:ext>
            </a:extLst>
          </a:blip>
          <a:srcRect/>
          <a:stretch/>
        </p:blipFill>
        <p:spPr>
          <a:xfrm>
            <a:off x="1543100" y="3088496"/>
            <a:ext cx="1121296" cy="384331"/>
          </a:xfrm>
          <a:prstGeom prst="rect">
            <a:avLst/>
          </a:prstGeom>
        </p:spPr>
      </p:pic>
      <p:pic>
        <p:nvPicPr>
          <p:cNvPr id="30" name="Rectangle 474" descr="preencoded.png"/>
          <p:cNvPicPr>
            <a:picLocks noChangeAspect="1"/>
          </p:cNvPicPr>
          <p:nvPr/>
        </p:nvPicPr>
        <p:blipFill>
          <a:blip r:embed="rId45"/>
          <a:srcRect/>
          <a:stretch/>
        </p:blipFill>
        <p:spPr>
          <a:xfrm>
            <a:off x="4544374" y="2262132"/>
            <a:ext cx="57082" cy="57089"/>
          </a:xfrm>
          <a:prstGeom prst="rect">
            <a:avLst/>
          </a:prstGeom>
        </p:spPr>
      </p:pic>
      <p:pic>
        <p:nvPicPr>
          <p:cNvPr id="31" name="Rectangle 165" descr="preencoded.png"/>
          <p:cNvPicPr>
            <a:picLocks noChangeAspect="1"/>
          </p:cNvPicPr>
          <p:nvPr/>
        </p:nvPicPr>
        <p:blipFill>
          <a:blip r:embed="rId46"/>
          <a:srcRect/>
          <a:stretch/>
        </p:blipFill>
        <p:spPr>
          <a:xfrm>
            <a:off x="1699555" y="1863949"/>
            <a:ext cx="57082" cy="57089"/>
          </a:xfrm>
          <a:prstGeom prst="rect">
            <a:avLst/>
          </a:prstGeom>
        </p:spPr>
      </p:pic>
      <p:pic>
        <p:nvPicPr>
          <p:cNvPr id="32" name="Rectangle 472" descr="preencoded.png"/>
          <p:cNvPicPr>
            <a:picLocks noChangeAspect="1"/>
          </p:cNvPicPr>
          <p:nvPr/>
        </p:nvPicPr>
        <p:blipFill>
          <a:blip r:embed="rId47"/>
          <a:srcRect/>
          <a:stretch/>
        </p:blipFill>
        <p:spPr>
          <a:xfrm>
            <a:off x="3189852" y="2068613"/>
            <a:ext cx="57082" cy="57089"/>
          </a:xfrm>
          <a:prstGeom prst="rect">
            <a:avLst/>
          </a:prstGeom>
        </p:spPr>
      </p:pic>
      <p:pic>
        <p:nvPicPr>
          <p:cNvPr id="33" name="Rectangle 477" descr="preencoded.png"/>
          <p:cNvPicPr>
            <a:picLocks noChangeAspect="1"/>
          </p:cNvPicPr>
          <p:nvPr/>
        </p:nvPicPr>
        <p:blipFill>
          <a:blip r:embed="rId48"/>
          <a:srcRect/>
          <a:stretch/>
        </p:blipFill>
        <p:spPr>
          <a:xfrm>
            <a:off x="7776843" y="1803702"/>
            <a:ext cx="57082" cy="57089"/>
          </a:xfrm>
          <a:prstGeom prst="rect">
            <a:avLst/>
          </a:prstGeom>
        </p:spPr>
      </p:pic>
      <p:pic>
        <p:nvPicPr>
          <p:cNvPr id="34" name="Rectangle 478" descr="preencoded.png"/>
          <p:cNvPicPr>
            <a:picLocks noChangeAspect="1"/>
          </p:cNvPicPr>
          <p:nvPr/>
        </p:nvPicPr>
        <p:blipFill>
          <a:blip r:embed="rId49"/>
          <a:srcRect/>
          <a:stretch/>
        </p:blipFill>
        <p:spPr>
          <a:xfrm>
            <a:off x="8170943" y="786811"/>
            <a:ext cx="88832" cy="88839"/>
          </a:xfrm>
          <a:prstGeom prst="rect">
            <a:avLst/>
          </a:prstGeom>
        </p:spPr>
      </p:pic>
      <p:pic>
        <p:nvPicPr>
          <p:cNvPr id="35" name="Polygon 1" descr="preencoded.png"/>
          <p:cNvPicPr>
            <a:picLocks noChangeAspect="1"/>
          </p:cNvPicPr>
          <p:nvPr/>
        </p:nvPicPr>
        <p:blipFill>
          <a:blip r:embed="rId50">
            <a:extLst>
              <a:ext uri="{96DAC541-7B7A-43D3-8B79-37D633B846F1}">
                <asvg:svgBlip xmlns:asvg="http://schemas.microsoft.com/office/drawing/2016/SVG/main" r:embed="rId51"/>
              </a:ext>
            </a:extLst>
          </a:blip>
          <a:srcRect/>
          <a:stretch/>
        </p:blipFill>
        <p:spPr>
          <a:xfrm>
            <a:off x="8158215" y="1042518"/>
            <a:ext cx="111125" cy="111125"/>
          </a:xfrm>
          <a:prstGeom prst="rect">
            <a:avLst/>
          </a:prstGeom>
        </p:spPr>
      </p:pic>
      <p:pic>
        <p:nvPicPr>
          <p:cNvPr id="36" name="Polygon 2" descr="preencoded.png"/>
          <p:cNvPicPr>
            <a:picLocks noChangeAspect="1"/>
          </p:cNvPicPr>
          <p:nvPr/>
        </p:nvPicPr>
        <p:blipFill>
          <a:blip r:embed="rId52">
            <a:extLst>
              <a:ext uri="{96DAC541-7B7A-43D3-8B79-37D633B846F1}">
                <asvg:svgBlip xmlns:asvg="http://schemas.microsoft.com/office/drawing/2016/SVG/main" r:embed="rId53"/>
              </a:ext>
            </a:extLst>
          </a:blip>
          <a:srcRect/>
          <a:stretch/>
        </p:blipFill>
        <p:spPr>
          <a:xfrm>
            <a:off x="7761883" y="1613139"/>
            <a:ext cx="87313" cy="87313"/>
          </a:xfrm>
          <a:prstGeom prst="rect">
            <a:avLst/>
          </a:prstGeom>
        </p:spPr>
      </p:pic>
      <p:pic>
        <p:nvPicPr>
          <p:cNvPr id="37" name="Polygon 3" descr="preencoded.png"/>
          <p:cNvPicPr>
            <a:picLocks noChangeAspect="1"/>
          </p:cNvPicPr>
          <p:nvPr/>
        </p:nvPicPr>
        <p:blipFill>
          <a:blip r:embed="rId54">
            <a:extLst>
              <a:ext uri="{96DAC541-7B7A-43D3-8B79-37D633B846F1}">
                <asvg:svgBlip xmlns:asvg="http://schemas.microsoft.com/office/drawing/2016/SVG/main" r:embed="rId55"/>
              </a:ext>
            </a:extLst>
          </a:blip>
          <a:srcRect/>
          <a:stretch/>
        </p:blipFill>
        <p:spPr>
          <a:xfrm>
            <a:off x="6651532" y="1766354"/>
            <a:ext cx="87313" cy="87313"/>
          </a:xfrm>
          <a:prstGeom prst="rect">
            <a:avLst/>
          </a:prstGeom>
        </p:spPr>
      </p:pic>
      <p:pic>
        <p:nvPicPr>
          <p:cNvPr id="38" name="Vector" descr="preencoded.png"/>
          <p:cNvPicPr>
            <a:picLocks noChangeAspect="1"/>
          </p:cNvPicPr>
          <p:nvPr/>
        </p:nvPicPr>
        <p:blipFill>
          <a:blip r:embed="rId56"/>
          <a:srcRect/>
          <a:stretch/>
        </p:blipFill>
        <p:spPr>
          <a:xfrm>
            <a:off x="7174430" y="3125077"/>
            <a:ext cx="521705" cy="918588"/>
          </a:xfrm>
          <a:prstGeom prst="rect">
            <a:avLst/>
          </a:prstGeom>
        </p:spPr>
      </p:pic>
      <p:pic>
        <p:nvPicPr>
          <p:cNvPr id="39" name="Vector" descr="preencoded.png"/>
          <p:cNvPicPr>
            <a:picLocks noChangeAspect="1"/>
          </p:cNvPicPr>
          <p:nvPr/>
        </p:nvPicPr>
        <p:blipFill>
          <a:blip r:embed="rId57"/>
          <a:srcRect/>
          <a:stretch/>
        </p:blipFill>
        <p:spPr>
          <a:xfrm>
            <a:off x="4001771" y="3005788"/>
            <a:ext cx="1295083" cy="1326601"/>
          </a:xfrm>
          <a:prstGeom prst="rect">
            <a:avLst/>
          </a:prstGeom>
        </p:spPr>
      </p:pic>
      <p:pic>
        <p:nvPicPr>
          <p:cNvPr id="40" name="Vector" descr="preencoded.png"/>
          <p:cNvPicPr>
            <a:picLocks noChangeAspect="1"/>
          </p:cNvPicPr>
          <p:nvPr/>
        </p:nvPicPr>
        <p:blipFill>
          <a:blip r:embed="rId58"/>
          <a:srcRect/>
          <a:stretch/>
        </p:blipFill>
        <p:spPr>
          <a:xfrm>
            <a:off x="1555100" y="3367609"/>
            <a:ext cx="785099" cy="785096"/>
          </a:xfrm>
          <a:prstGeom prst="rect">
            <a:avLst/>
          </a:prstGeom>
        </p:spPr>
      </p:pic>
      <p:pic>
        <p:nvPicPr>
          <p:cNvPr id="41" name="avbb 6" descr="preencoded.png"/>
          <p:cNvPicPr>
            <a:picLocks noChangeAspect="1"/>
          </p:cNvPicPr>
          <p:nvPr/>
        </p:nvPicPr>
        <p:blipFill>
          <a:blip r:embed="rId59"/>
          <a:srcRect/>
          <a:stretch/>
        </p:blipFill>
        <p:spPr>
          <a:xfrm>
            <a:off x="4601952" y="2810154"/>
            <a:ext cx="1064230" cy="1136863"/>
          </a:xfrm>
          <a:prstGeom prst="rect">
            <a:avLst/>
          </a:prstGeom>
        </p:spPr>
      </p:pic>
      <p:pic>
        <p:nvPicPr>
          <p:cNvPr id="42" name="Ellipse 181" descr="preencoded.png"/>
          <p:cNvPicPr>
            <a:picLocks noChangeAspect="1"/>
          </p:cNvPicPr>
          <p:nvPr/>
        </p:nvPicPr>
        <p:blipFill>
          <a:blip r:embed="rId60">
            <a:extLst>
              <a:ext uri="{96DAC541-7B7A-43D3-8B79-37D633B846F1}">
                <asvg:svgBlip xmlns:asvg="http://schemas.microsoft.com/office/drawing/2016/SVG/main" r:embed="rId61"/>
              </a:ext>
            </a:extLst>
          </a:blip>
          <a:srcRect/>
          <a:stretch/>
        </p:blipFill>
        <p:spPr>
          <a:xfrm>
            <a:off x="1594399" y="1705034"/>
            <a:ext cx="261938" cy="261938"/>
          </a:xfrm>
          <a:prstGeom prst="rect">
            <a:avLst/>
          </a:prstGeom>
        </p:spPr>
      </p:pic>
      <p:pic>
        <p:nvPicPr>
          <p:cNvPr id="43" name="Ellipse 182" descr="preencoded.png"/>
          <p:cNvPicPr>
            <a:picLocks noChangeAspect="1"/>
          </p:cNvPicPr>
          <p:nvPr/>
        </p:nvPicPr>
        <p:blipFill>
          <a:blip r:embed="rId62">
            <a:extLst>
              <a:ext uri="{96DAC541-7B7A-43D3-8B79-37D633B846F1}">
                <asvg:svgBlip xmlns:asvg="http://schemas.microsoft.com/office/drawing/2016/SVG/main" r:embed="rId63"/>
              </a:ext>
            </a:extLst>
          </a:blip>
          <a:srcRect/>
          <a:stretch/>
        </p:blipFill>
        <p:spPr>
          <a:xfrm>
            <a:off x="6563522" y="1705719"/>
            <a:ext cx="261938" cy="261938"/>
          </a:xfrm>
          <a:prstGeom prst="rect">
            <a:avLst/>
          </a:prstGeom>
        </p:spPr>
      </p:pic>
      <p:pic>
        <p:nvPicPr>
          <p:cNvPr id="44" name="image 109" descr="preencoded.png"/>
          <p:cNvPicPr>
            <a:picLocks noChangeAspect="1"/>
          </p:cNvPicPr>
          <p:nvPr/>
        </p:nvPicPr>
        <p:blipFill>
          <a:blip r:embed="rId64"/>
          <a:srcRect/>
          <a:stretch/>
        </p:blipFill>
        <p:spPr>
          <a:xfrm>
            <a:off x="3942069" y="3683000"/>
            <a:ext cx="451585" cy="640428"/>
          </a:xfrm>
          <a:prstGeom prst="rect">
            <a:avLst/>
          </a:prstGeom>
        </p:spPr>
      </p:pic>
      <p:pic>
        <p:nvPicPr>
          <p:cNvPr id="45" name="image 110" descr="preencoded.png"/>
          <p:cNvPicPr>
            <a:picLocks noChangeAspect="1"/>
          </p:cNvPicPr>
          <p:nvPr/>
        </p:nvPicPr>
        <p:blipFill>
          <a:blip r:embed="rId65"/>
          <a:srcRect/>
          <a:stretch/>
        </p:blipFill>
        <p:spPr>
          <a:xfrm>
            <a:off x="1457989" y="3309027"/>
            <a:ext cx="427974" cy="403524"/>
          </a:xfrm>
          <a:prstGeom prst="rect">
            <a:avLst/>
          </a:prstGeom>
        </p:spPr>
      </p:pic>
      <p:sp>
        <p:nvSpPr>
          <p:cNvPr id="46" name="radio link"/>
          <p:cNvSpPr/>
          <p:nvPr/>
        </p:nvSpPr>
        <p:spPr>
          <a:xfrm rot="-2713156">
            <a:off x="6829599" y="3454239"/>
            <a:ext cx="262008" cy="4763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375"/>
              </a:lnSpc>
            </a:pPr>
            <a:r>
              <a:rPr lang="en-US" sz="312" dirty="0">
                <a:solidFill>
                  <a:srgbClr val="FFFFFF"/>
                </a:solidFill>
                <a:latin typeface="Suisse Intl Medium" pitchFamily="34" charset="0"/>
                <a:ea typeface="Suisse Intl Medium" pitchFamily="34" charset="-122"/>
                <a:cs typeface="Suisse Intl Medium" pitchFamily="34" charset="-120"/>
              </a:rPr>
              <a:t>RADIO LINK</a:t>
            </a:r>
            <a:endParaRPr lang="en-US" sz="312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7" name="radio link"/>
          <p:cNvSpPr/>
          <p:nvPr/>
        </p:nvSpPr>
        <p:spPr>
          <a:xfrm rot="2706193">
            <a:off x="7855584" y="3454501"/>
            <a:ext cx="262006" cy="47639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375"/>
              </a:lnSpc>
            </a:pPr>
            <a:r>
              <a:rPr lang="en-US" sz="312" dirty="0">
                <a:solidFill>
                  <a:srgbClr val="FFFFFF"/>
                </a:solidFill>
                <a:latin typeface="Suisse Intl Medium" pitchFamily="34" charset="0"/>
                <a:ea typeface="Suisse Intl Medium" pitchFamily="34" charset="-122"/>
                <a:cs typeface="Suisse Intl Medium" pitchFamily="34" charset="-120"/>
              </a:rPr>
              <a:t>RADIO LINK</a:t>
            </a:r>
            <a:endParaRPr lang="en-US" sz="312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8" name="cubesat 2"/>
          <p:cNvSpPr/>
          <p:nvPr/>
        </p:nvSpPr>
        <p:spPr>
          <a:xfrm>
            <a:off x="8419052" y="4199261"/>
            <a:ext cx="245739" cy="477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375"/>
              </a:lnSpc>
            </a:pPr>
            <a:r>
              <a:rPr lang="en-US" sz="312" dirty="0">
                <a:solidFill>
                  <a:srgbClr val="FFFFFF"/>
                </a:solidFill>
                <a:latin typeface="Suisse Intl Medium" pitchFamily="34" charset="0"/>
                <a:ea typeface="Suisse Intl Medium" pitchFamily="34" charset="-122"/>
                <a:cs typeface="Suisse Intl Medium" pitchFamily="34" charset="-120"/>
              </a:rPr>
              <a:t>CUBESAT 2</a:t>
            </a:r>
            <a:endParaRPr lang="en-US" sz="312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9" name="bistatic radar"/>
          <p:cNvSpPr/>
          <p:nvPr/>
        </p:nvSpPr>
        <p:spPr>
          <a:xfrm>
            <a:off x="6512564" y="4168207"/>
            <a:ext cx="348771" cy="477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375"/>
              </a:lnSpc>
            </a:pPr>
            <a:r>
              <a:rPr lang="en-US" sz="312" dirty="0">
                <a:solidFill>
                  <a:srgbClr val="FFFFFF"/>
                </a:solidFill>
                <a:latin typeface="Suisse Intl Medium" pitchFamily="34" charset="0"/>
                <a:ea typeface="Suisse Intl Medium" pitchFamily="34" charset="-122"/>
                <a:cs typeface="Suisse Intl Medium" pitchFamily="34" charset="-120"/>
              </a:rPr>
              <a:t>BISTATIC RADAR</a:t>
            </a:r>
            <a:endParaRPr lang="en-US" sz="312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0" name="bistatic radar"/>
          <p:cNvSpPr/>
          <p:nvPr/>
        </p:nvSpPr>
        <p:spPr>
          <a:xfrm>
            <a:off x="8074500" y="4168207"/>
            <a:ext cx="348771" cy="477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375"/>
              </a:lnSpc>
            </a:pPr>
            <a:r>
              <a:rPr lang="en-US" sz="312" dirty="0">
                <a:solidFill>
                  <a:srgbClr val="FFFFFF"/>
                </a:solidFill>
                <a:latin typeface="Suisse Intl Medium" pitchFamily="34" charset="0"/>
                <a:ea typeface="Suisse Intl Medium" pitchFamily="34" charset="-122"/>
                <a:cs typeface="Suisse Intl Medium" pitchFamily="34" charset="-120"/>
              </a:rPr>
              <a:t>BISTATIC RADAR</a:t>
            </a:r>
            <a:endParaRPr lang="en-US" sz="312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1" name="cubesat 1"/>
          <p:cNvSpPr/>
          <p:nvPr/>
        </p:nvSpPr>
        <p:spPr>
          <a:xfrm>
            <a:off x="6220039" y="4199261"/>
            <a:ext cx="237813" cy="477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375"/>
              </a:lnSpc>
            </a:pPr>
            <a:r>
              <a:rPr lang="en-US" sz="312" dirty="0">
                <a:solidFill>
                  <a:srgbClr val="FFFFFF"/>
                </a:solidFill>
                <a:latin typeface="Suisse Intl Medium" pitchFamily="34" charset="0"/>
                <a:ea typeface="Suisse Intl Medium" pitchFamily="34" charset="-122"/>
                <a:cs typeface="Suisse Intl Medium" pitchFamily="34" charset="-120"/>
              </a:rPr>
              <a:t>CUBESAT 1</a:t>
            </a:r>
            <a:endParaRPr lang="en-US" sz="312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2" name="mothership"/>
          <p:cNvSpPr/>
          <p:nvPr/>
        </p:nvSpPr>
        <p:spPr>
          <a:xfrm>
            <a:off x="7286625" y="2947273"/>
            <a:ext cx="293293" cy="477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 defTabSz="761970">
              <a:lnSpc>
                <a:spcPts val="375"/>
              </a:lnSpc>
            </a:pPr>
            <a:r>
              <a:rPr lang="en-US" sz="312" dirty="0">
                <a:solidFill>
                  <a:srgbClr val="FFFFFF"/>
                </a:solidFill>
                <a:latin typeface="Suisse Intl Medium" pitchFamily="34" charset="0"/>
                <a:ea typeface="Suisse Intl Medium" pitchFamily="34" charset="-122"/>
                <a:cs typeface="Suisse Intl Medium" pitchFamily="34" charset="-120"/>
              </a:rPr>
              <a:t>MOTHERSHIP</a:t>
            </a:r>
            <a:endParaRPr lang="en-US" sz="312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3" name="Caltech Mission Close Approach ConOps"/>
          <p:cNvSpPr/>
          <p:nvPr/>
        </p:nvSpPr>
        <p:spPr>
          <a:xfrm>
            <a:off x="267953" y="466148"/>
            <a:ext cx="5667375" cy="32543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2547"/>
              </a:lnSpc>
            </a:pPr>
            <a:r>
              <a:rPr lang="en-US" sz="2185" dirty="0">
                <a:solidFill>
                  <a:srgbClr val="FFFFFF"/>
                </a:solidFill>
                <a:latin typeface="HelveticaNowText ExtraBold" pitchFamily="34" charset="0"/>
                <a:ea typeface="HelveticaNowText ExtraBold" pitchFamily="34" charset="-122"/>
                <a:cs typeface="HelveticaNowText ExtraBold" pitchFamily="34" charset="-120"/>
              </a:rPr>
              <a:t>Caltech Mission Operations</a:t>
            </a:r>
            <a:endParaRPr lang="en-US" sz="2185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4" name="PAGE 15"/>
          <p:cNvSpPr/>
          <p:nvPr/>
        </p:nvSpPr>
        <p:spPr>
          <a:xfrm>
            <a:off x="4333875" y="30146"/>
            <a:ext cx="476325" cy="119063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761970">
              <a:lnSpc>
                <a:spcPts val="750"/>
              </a:lnSpc>
            </a:pPr>
            <a:r>
              <a:rPr lang="en-US" sz="625" dirty="0">
                <a:solidFill>
                  <a:srgbClr val="FFFFFF"/>
                </a:solidFill>
                <a:latin typeface="Helvetica Now Var Text Light" pitchFamily="34" charset="0"/>
                <a:ea typeface="Helvetica Now Var Text Light" pitchFamily="34" charset="-122"/>
                <a:cs typeface="Helvetica Now Var Text Light" pitchFamily="34" charset="-120"/>
              </a:rPr>
              <a:t>PAGE </a:t>
            </a:r>
            <a:r>
              <a:rPr lang="en-US" sz="625" dirty="0">
                <a:solidFill>
                  <a:srgbClr val="E31937"/>
                </a:solidFill>
                <a:latin typeface="Helvetica Now Var Text ExtraBold" pitchFamily="34" charset="0"/>
                <a:ea typeface="Helvetica Now Var Text ExtraBold" pitchFamily="34" charset="-122"/>
                <a:cs typeface="Helvetica Now Var Text ExtraBold" pitchFamily="34" charset="-120"/>
              </a:rPr>
              <a:t>15</a:t>
            </a:r>
            <a:endParaRPr lang="en-US" sz="625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6" name="name_2025"/>
          <p:cNvSpPr/>
          <p:nvPr/>
        </p:nvSpPr>
        <p:spPr>
          <a:xfrm>
            <a:off x="8826500" y="18240"/>
            <a:ext cx="246118" cy="14288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r" defTabSz="761970">
              <a:lnSpc>
                <a:spcPts val="937"/>
              </a:lnSpc>
            </a:pPr>
            <a:r>
              <a:rPr lang="en-US" sz="750" kern="0" spc="-125" dirty="0">
                <a:solidFill>
                  <a:srgbClr val="FFFFFF"/>
                </a:solidFill>
                <a:latin typeface="Helvetica Now Var Text ExtraLight" pitchFamily="34" charset="0"/>
                <a:ea typeface="Helvetica Now Var Text ExtraLight" pitchFamily="34" charset="-122"/>
                <a:cs typeface="Helvetica Now Var Text ExtraLight" pitchFamily="34" charset="-120"/>
              </a:rPr>
              <a:t>2025</a:t>
            </a:r>
            <a:endParaRPr lang="en-US" sz="7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7" name="MISSON TO APOPHIS"/>
          <p:cNvSpPr/>
          <p:nvPr/>
        </p:nvSpPr>
        <p:spPr>
          <a:xfrm>
            <a:off x="41688" y="30146"/>
            <a:ext cx="921836" cy="11907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defTabSz="761970">
              <a:lnSpc>
                <a:spcPts val="750"/>
              </a:lnSpc>
            </a:pPr>
            <a:r>
              <a:rPr lang="en-US" sz="625" dirty="0">
                <a:solidFill>
                  <a:srgbClr val="FFFFFF"/>
                </a:solidFill>
                <a:latin typeface="Helvetica Now Var Text Light" pitchFamily="34" charset="0"/>
                <a:ea typeface="Helvetica Now Var Text Light" pitchFamily="34" charset="-122"/>
                <a:cs typeface="Helvetica Now Var Text Light" pitchFamily="34" charset="-120"/>
              </a:rPr>
              <a:t>MISSON TO APOPHIS</a:t>
            </a:r>
            <a:endParaRPr lang="en-US" sz="625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8" name="april 13 2029"/>
          <p:cNvSpPr/>
          <p:nvPr/>
        </p:nvSpPr>
        <p:spPr>
          <a:xfrm>
            <a:off x="4310063" y="1390489"/>
            <a:ext cx="523875" cy="7937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761970">
              <a:lnSpc>
                <a:spcPts val="687"/>
              </a:lnSpc>
            </a:pPr>
            <a:r>
              <a:rPr lang="en-US" sz="561" kern="0" spc="-62" dirty="0">
                <a:solidFill>
                  <a:srgbClr val="F44721"/>
                </a:solidFill>
                <a:latin typeface="Suisse Intl Medium" pitchFamily="34" charset="0"/>
                <a:ea typeface="Suisse Intl Medium" pitchFamily="34" charset="-122"/>
                <a:cs typeface="Suisse Intl Medium" pitchFamily="34" charset="-120"/>
              </a:rPr>
              <a:t>APRIL 13, 2029</a:t>
            </a:r>
            <a:endParaRPr lang="en-US" sz="56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9" name="Earth Close Approach"/>
          <p:cNvSpPr/>
          <p:nvPr/>
        </p:nvSpPr>
        <p:spPr>
          <a:xfrm>
            <a:off x="3698875" y="1215864"/>
            <a:ext cx="1752765" cy="1746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 defTabSz="761970">
              <a:lnSpc>
                <a:spcPts val="812"/>
              </a:lnSpc>
            </a:pPr>
            <a:r>
              <a:rPr lang="en-US" sz="937" dirty="0">
                <a:solidFill>
                  <a:srgbClr val="FFFFFF"/>
                </a:solidFill>
                <a:latin typeface="Helvetica Now Var Regular" pitchFamily="34" charset="0"/>
                <a:ea typeface="Helvetica Now Var Regular" pitchFamily="34" charset="-122"/>
                <a:cs typeface="Helvetica Now Var Regular" pitchFamily="34" charset="-120"/>
              </a:rPr>
              <a:t>EARTH CLOSE APPROACH</a:t>
            </a:r>
            <a:endParaRPr lang="en-US" sz="937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0" name="Phase 01"/>
          <p:cNvSpPr/>
          <p:nvPr/>
        </p:nvSpPr>
        <p:spPr>
          <a:xfrm>
            <a:off x="1428750" y="4412541"/>
            <a:ext cx="500063" cy="10318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 defTabSz="761970">
              <a:lnSpc>
                <a:spcPts val="765"/>
              </a:lnSpc>
            </a:pPr>
            <a:r>
              <a:rPr lang="en-US" sz="750" dirty="0">
                <a:solidFill>
                  <a:srgbClr val="F34722"/>
                </a:solidFill>
                <a:latin typeface="Suisse Intl Medium" pitchFamily="34" charset="0"/>
                <a:ea typeface="Suisse Intl Medium" pitchFamily="34" charset="-122"/>
                <a:cs typeface="Suisse Intl Medium" pitchFamily="34" charset="-120"/>
              </a:rPr>
              <a:t> PHASE 01</a:t>
            </a:r>
            <a:endParaRPr lang="en-US" sz="7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1" name="name_01"/>
          <p:cNvSpPr/>
          <p:nvPr/>
        </p:nvSpPr>
        <p:spPr>
          <a:xfrm>
            <a:off x="3079750" y="2241178"/>
            <a:ext cx="269875" cy="2381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 defTabSz="761970">
              <a:lnSpc>
                <a:spcPts val="1852"/>
              </a:lnSpc>
            </a:pPr>
            <a:r>
              <a:rPr lang="en-US" sz="1815" dirty="0">
                <a:solidFill>
                  <a:srgbClr val="FFFFFF"/>
                </a:solidFill>
                <a:latin typeface="Suisse Intl Medium" pitchFamily="34" charset="0"/>
                <a:ea typeface="Suisse Intl Medium" pitchFamily="34" charset="-122"/>
                <a:cs typeface="Suisse Intl Medium" pitchFamily="34" charset="-120"/>
              </a:rPr>
              <a:t>01</a:t>
            </a:r>
            <a:endParaRPr lang="en-US" sz="1815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2" name="name_02"/>
          <p:cNvSpPr/>
          <p:nvPr/>
        </p:nvSpPr>
        <p:spPr>
          <a:xfrm>
            <a:off x="4421188" y="2438750"/>
            <a:ext cx="317500" cy="2381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 defTabSz="761970">
              <a:lnSpc>
                <a:spcPts val="1852"/>
              </a:lnSpc>
            </a:pPr>
            <a:r>
              <a:rPr lang="en-US" sz="1815" dirty="0">
                <a:solidFill>
                  <a:srgbClr val="FFFFFF"/>
                </a:solidFill>
                <a:latin typeface="Suisse Intl Medium" pitchFamily="34" charset="0"/>
                <a:ea typeface="Suisse Intl Medium" pitchFamily="34" charset="-122"/>
                <a:cs typeface="Suisse Intl Medium" pitchFamily="34" charset="-120"/>
              </a:rPr>
              <a:t>02</a:t>
            </a:r>
            <a:endParaRPr lang="en-US" sz="1815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3" name="name_03"/>
          <p:cNvSpPr/>
          <p:nvPr/>
        </p:nvSpPr>
        <p:spPr>
          <a:xfrm>
            <a:off x="7643813" y="1957444"/>
            <a:ext cx="325438" cy="2381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 defTabSz="761970">
              <a:lnSpc>
                <a:spcPts val="1852"/>
              </a:lnSpc>
            </a:pPr>
            <a:r>
              <a:rPr lang="en-US" sz="1815" dirty="0">
                <a:solidFill>
                  <a:srgbClr val="FFFFFF"/>
                </a:solidFill>
                <a:latin typeface="Suisse Intl Medium" pitchFamily="34" charset="0"/>
                <a:ea typeface="Suisse Intl Medium" pitchFamily="34" charset="-122"/>
                <a:cs typeface="Suisse Intl Medium" pitchFamily="34" charset="-120"/>
              </a:rPr>
              <a:t>03</a:t>
            </a:r>
            <a:endParaRPr lang="en-US" sz="1815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4" name="Phase 02"/>
          <p:cNvSpPr/>
          <p:nvPr/>
        </p:nvSpPr>
        <p:spPr>
          <a:xfrm>
            <a:off x="4310063" y="4412541"/>
            <a:ext cx="523875" cy="10318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 defTabSz="761970">
              <a:lnSpc>
                <a:spcPts val="765"/>
              </a:lnSpc>
            </a:pPr>
            <a:r>
              <a:rPr lang="en-US" sz="750" dirty="0">
                <a:solidFill>
                  <a:srgbClr val="F34722"/>
                </a:solidFill>
                <a:latin typeface="Suisse Intl Medium" pitchFamily="34" charset="0"/>
                <a:ea typeface="Suisse Intl Medium" pitchFamily="34" charset="-122"/>
                <a:cs typeface="Suisse Intl Medium" pitchFamily="34" charset="-120"/>
              </a:rPr>
              <a:t> PHASE 02</a:t>
            </a:r>
            <a:endParaRPr lang="en-US" sz="7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5" name="Phase 03"/>
          <p:cNvSpPr/>
          <p:nvPr/>
        </p:nvSpPr>
        <p:spPr>
          <a:xfrm>
            <a:off x="7183438" y="4412541"/>
            <a:ext cx="523875" cy="10318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 defTabSz="761970">
              <a:lnSpc>
                <a:spcPts val="765"/>
              </a:lnSpc>
            </a:pPr>
            <a:r>
              <a:rPr lang="en-US" sz="750" dirty="0">
                <a:solidFill>
                  <a:srgbClr val="F34722"/>
                </a:solidFill>
                <a:latin typeface="Suisse Intl Medium" pitchFamily="34" charset="0"/>
                <a:ea typeface="Suisse Intl Medium" pitchFamily="34" charset="-122"/>
                <a:cs typeface="Suisse Intl Medium" pitchFamily="34" charset="-120"/>
              </a:rPr>
              <a:t> PHASE 03</a:t>
            </a:r>
            <a:endParaRPr lang="en-US" sz="7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6" name="Pre-Approach Phase"/>
          <p:cNvSpPr/>
          <p:nvPr/>
        </p:nvSpPr>
        <p:spPr>
          <a:xfrm>
            <a:off x="841375" y="4650251"/>
            <a:ext cx="1752765" cy="1746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 defTabSz="761970">
              <a:lnSpc>
                <a:spcPts val="812"/>
              </a:lnSpc>
            </a:pPr>
            <a:r>
              <a:rPr lang="en-US" sz="937" dirty="0">
                <a:solidFill>
                  <a:srgbClr val="FFFFFF"/>
                </a:solidFill>
                <a:latin typeface="Helvetica Now Var Regular" pitchFamily="34" charset="0"/>
                <a:ea typeface="Helvetica Now Var Regular" pitchFamily="34" charset="-122"/>
                <a:cs typeface="Helvetica Now Var Regular" pitchFamily="34" charset="-120"/>
              </a:rPr>
              <a:t>PRE-APPROACH PHASE</a:t>
            </a:r>
            <a:endParaRPr lang="en-US" sz="937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7" name="Close Approach Phase"/>
          <p:cNvSpPr/>
          <p:nvPr/>
        </p:nvSpPr>
        <p:spPr>
          <a:xfrm>
            <a:off x="3698875" y="4650251"/>
            <a:ext cx="1752765" cy="1746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 defTabSz="761970">
              <a:lnSpc>
                <a:spcPts val="812"/>
              </a:lnSpc>
            </a:pPr>
            <a:r>
              <a:rPr lang="en-US" sz="937" dirty="0">
                <a:solidFill>
                  <a:srgbClr val="FFFFFF"/>
                </a:solidFill>
                <a:latin typeface="Helvetica Now Var Regular" pitchFamily="34" charset="0"/>
                <a:ea typeface="Helvetica Now Var Regular" pitchFamily="34" charset="-122"/>
                <a:cs typeface="Helvetica Now Var Regular" pitchFamily="34" charset="-120"/>
              </a:rPr>
              <a:t>CLOSE APPROACH PHASE</a:t>
            </a:r>
            <a:endParaRPr lang="en-US" sz="937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8" name="Post-Approach Phase"/>
          <p:cNvSpPr/>
          <p:nvPr/>
        </p:nvSpPr>
        <p:spPr>
          <a:xfrm>
            <a:off x="6588125" y="4650251"/>
            <a:ext cx="1752765" cy="1746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 defTabSz="761970">
              <a:lnSpc>
                <a:spcPts val="812"/>
              </a:lnSpc>
            </a:pPr>
            <a:r>
              <a:rPr lang="en-US" sz="937" dirty="0">
                <a:solidFill>
                  <a:srgbClr val="FFFFFF"/>
                </a:solidFill>
                <a:latin typeface="Helvetica Now Var Regular" pitchFamily="34" charset="0"/>
                <a:ea typeface="Helvetica Now Var Regular" pitchFamily="34" charset="-122"/>
                <a:cs typeface="Helvetica Now Var Regular" pitchFamily="34" charset="-120"/>
              </a:rPr>
              <a:t>POST-APPROACH PHASE</a:t>
            </a:r>
            <a:endParaRPr lang="en-US" sz="937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9" name="Caltech Mission"/>
          <p:cNvSpPr/>
          <p:nvPr/>
        </p:nvSpPr>
        <p:spPr>
          <a:xfrm>
            <a:off x="1119188" y="1793875"/>
            <a:ext cx="515938" cy="35718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812"/>
              </a:lnSpc>
            </a:pPr>
            <a:r>
              <a:rPr lang="en-US" sz="848" dirty="0">
                <a:solidFill>
                  <a:srgbClr val="FFFFFF"/>
                </a:solidFill>
                <a:latin typeface="HelveticaNowText ExtraBold" pitchFamily="34" charset="0"/>
                <a:ea typeface="HelveticaNowText ExtraBold" pitchFamily="34" charset="-122"/>
                <a:cs typeface="HelveticaNowText ExtraBold" pitchFamily="34" charset="-120"/>
              </a:rPr>
              <a:t>Caltech Mission</a:t>
            </a:r>
            <a:endParaRPr lang="en-US" sz="848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0" name="Osiris-APEX"/>
          <p:cNvSpPr/>
          <p:nvPr/>
        </p:nvSpPr>
        <p:spPr>
          <a:xfrm>
            <a:off x="5802313" y="1738313"/>
            <a:ext cx="777875" cy="10318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812"/>
              </a:lnSpc>
            </a:pPr>
            <a:r>
              <a:rPr lang="en-US" sz="848" dirty="0">
                <a:solidFill>
                  <a:srgbClr val="FFFFFF"/>
                </a:solidFill>
                <a:latin typeface="HelveticaNowText ExtraBold" pitchFamily="34" charset="0"/>
                <a:ea typeface="HelveticaNowText ExtraBold" pitchFamily="34" charset="-122"/>
                <a:cs typeface="HelveticaNowText ExtraBold" pitchFamily="34" charset="-120"/>
              </a:rPr>
              <a:t>OSIRIS-APEX</a:t>
            </a:r>
            <a:endParaRPr lang="en-US" sz="848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1" name="Caltech mission Launch 042028"/>
          <p:cNvSpPr/>
          <p:nvPr/>
        </p:nvSpPr>
        <p:spPr>
          <a:xfrm>
            <a:off x="1309688" y="1143000"/>
            <a:ext cx="1524000" cy="10318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812"/>
              </a:lnSpc>
            </a:pPr>
            <a:r>
              <a:rPr lang="en-US" sz="687" dirty="0">
                <a:solidFill>
                  <a:srgbClr val="FFFFFF"/>
                </a:solidFill>
                <a:latin typeface="Helvetica Neue Light" pitchFamily="34" charset="0"/>
                <a:ea typeface="Helvetica Neue Light" pitchFamily="34" charset="-122"/>
                <a:cs typeface="Helvetica Neue Light" pitchFamily="34" charset="-120"/>
              </a:rPr>
              <a:t>CALTECH MISSION LAUNCH 04/2028</a:t>
            </a:r>
            <a:endParaRPr lang="en-US" sz="687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2" name="Caltech Mission rendezvous with Apophis"/>
          <p:cNvSpPr/>
          <p:nvPr/>
        </p:nvSpPr>
        <p:spPr>
          <a:xfrm>
            <a:off x="1690765" y="2005033"/>
            <a:ext cx="729093" cy="30956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812"/>
              </a:lnSpc>
            </a:pPr>
            <a:r>
              <a:rPr lang="en-US" sz="625" dirty="0">
                <a:solidFill>
                  <a:srgbClr val="FFFFFF"/>
                </a:solidFill>
                <a:latin typeface="Helvetica Now Var Regular" pitchFamily="34" charset="0"/>
                <a:ea typeface="Helvetica Now Var Regular" pitchFamily="34" charset="-122"/>
                <a:cs typeface="Helvetica Now Var Regular" pitchFamily="34" charset="-120"/>
              </a:rPr>
              <a:t>Caltech Mission rendezvous with Apophis</a:t>
            </a:r>
            <a:endParaRPr lang="en-US" sz="625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3" name="Osiris-APEX rendezvous with Apophis"/>
          <p:cNvSpPr/>
          <p:nvPr/>
        </p:nvSpPr>
        <p:spPr>
          <a:xfrm>
            <a:off x="6563522" y="2033961"/>
            <a:ext cx="590381" cy="30956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812"/>
              </a:lnSpc>
            </a:pPr>
            <a:r>
              <a:rPr lang="en-US" sz="625" dirty="0">
                <a:solidFill>
                  <a:srgbClr val="FFFFFF"/>
                </a:solidFill>
                <a:latin typeface="Helvetica Now Var Regular" pitchFamily="34" charset="0"/>
                <a:ea typeface="Helvetica Now Var Regular" pitchFamily="34" charset="-122"/>
                <a:cs typeface="Helvetica Now Var Regular" pitchFamily="34" charset="-120"/>
              </a:rPr>
              <a:t>OSIRIS-APEX rendezvous with Apophis</a:t>
            </a:r>
            <a:endParaRPr lang="en-US" sz="625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4" name="Apophis"/>
          <p:cNvSpPr/>
          <p:nvPr/>
        </p:nvSpPr>
        <p:spPr>
          <a:xfrm>
            <a:off x="322942" y="1406364"/>
            <a:ext cx="539750" cy="1587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1000"/>
              </a:lnSpc>
            </a:pPr>
            <a:r>
              <a:rPr lang="en-US" sz="849" dirty="0">
                <a:solidFill>
                  <a:srgbClr val="FFFFFF"/>
                </a:solidFill>
                <a:latin typeface="HelveticaNowText ExtraBold" pitchFamily="34" charset="0"/>
                <a:ea typeface="HelveticaNowText ExtraBold" pitchFamily="34" charset="-122"/>
                <a:cs typeface="HelveticaNowText ExtraBold" pitchFamily="34" charset="-120"/>
              </a:rPr>
              <a:t>APOPHIS</a:t>
            </a:r>
            <a:endParaRPr lang="en-US" sz="849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5" name="Legend"/>
          <p:cNvSpPr/>
          <p:nvPr/>
        </p:nvSpPr>
        <p:spPr>
          <a:xfrm>
            <a:off x="8179253" y="532076"/>
            <a:ext cx="1588618" cy="21725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1437"/>
              </a:lnSpc>
              <a:spcAft>
                <a:spcPts val="235"/>
              </a:spcAft>
            </a:pPr>
            <a:r>
              <a:rPr lang="en-US" sz="1169" kern="0" spc="-62" dirty="0">
                <a:solidFill>
                  <a:srgbClr val="FFFFFF"/>
                </a:solidFill>
                <a:latin typeface="Helvetica Now Var Text ExtraBold" pitchFamily="34" charset="0"/>
                <a:ea typeface="Helvetica Now Var Text ExtraBold" pitchFamily="34" charset="-122"/>
                <a:cs typeface="Helvetica Now Var Text ExtraBold" pitchFamily="34" charset="-120"/>
              </a:rPr>
              <a:t>Legend</a:t>
            </a:r>
            <a:endParaRPr lang="en-US" sz="1169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7" name="Apophis"/>
          <p:cNvSpPr/>
          <p:nvPr/>
        </p:nvSpPr>
        <p:spPr>
          <a:xfrm>
            <a:off x="8278285" y="921186"/>
            <a:ext cx="317500" cy="793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598"/>
              </a:lnSpc>
              <a:spcAft>
                <a:spcPts val="159"/>
              </a:spcAft>
            </a:pPr>
            <a:r>
              <a:rPr lang="en-US" sz="598" kern="0" spc="-62" dirty="0">
                <a:solidFill>
                  <a:srgbClr val="FFFFFF"/>
                </a:solidFill>
                <a:latin typeface="Helvetica Now Var Regular" pitchFamily="34" charset="0"/>
                <a:ea typeface="Helvetica Now Var Regular" pitchFamily="34" charset="-122"/>
                <a:cs typeface="Helvetica Now Var Regular" pitchFamily="34" charset="-120"/>
              </a:rPr>
              <a:t>Apophis</a:t>
            </a:r>
            <a:endParaRPr lang="en-US" sz="598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8" name="Osiris-APEX"/>
          <p:cNvSpPr/>
          <p:nvPr/>
        </p:nvSpPr>
        <p:spPr>
          <a:xfrm>
            <a:off x="8278285" y="1051103"/>
            <a:ext cx="523875" cy="793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598"/>
              </a:lnSpc>
              <a:spcAft>
                <a:spcPts val="159"/>
              </a:spcAft>
            </a:pPr>
            <a:r>
              <a:rPr lang="en-US" sz="598" kern="0" spc="-62" dirty="0">
                <a:solidFill>
                  <a:srgbClr val="FFFFFF"/>
                </a:solidFill>
                <a:latin typeface="Helvetica Now Var Regular" pitchFamily="34" charset="0"/>
                <a:ea typeface="Helvetica Now Var Regular" pitchFamily="34" charset="-122"/>
                <a:cs typeface="Helvetica Now Var Regular" pitchFamily="34" charset="-120"/>
              </a:rPr>
              <a:t>OSIRIS-APEX</a:t>
            </a:r>
            <a:endParaRPr lang="en-US" sz="598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695774A-5474-1922-D1A3-7055DAA4DBF1}"/>
              </a:ext>
            </a:extLst>
          </p:cNvPr>
          <p:cNvSpPr txBox="1"/>
          <p:nvPr/>
        </p:nvSpPr>
        <p:spPr>
          <a:xfrm>
            <a:off x="2729086" y="4858837"/>
            <a:ext cx="5104839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00" dirty="0">
                <a:solidFill>
                  <a:schemeClr val="bg1">
                    <a:lumMod val="65000"/>
                  </a:schemeClr>
                </a:solidFill>
                <a:cs typeface="Calibri"/>
              </a:rPr>
              <a:t>Pre-decisional Information – For Planning and Discussion Purposes Only</a:t>
            </a:r>
          </a:p>
        </p:txBody>
      </p:sp>
      <p:sp>
        <p:nvSpPr>
          <p:cNvPr id="81" name="Apophis">
            <a:extLst>
              <a:ext uri="{FF2B5EF4-FFF2-40B4-BE49-F238E27FC236}">
                <a16:creationId xmlns:a16="http://schemas.microsoft.com/office/drawing/2014/main" id="{7B9DE8E3-D248-8FFF-CF95-D543A769611B}"/>
              </a:ext>
            </a:extLst>
          </p:cNvPr>
          <p:cNvSpPr/>
          <p:nvPr/>
        </p:nvSpPr>
        <p:spPr>
          <a:xfrm>
            <a:off x="8271683" y="803569"/>
            <a:ext cx="523875" cy="6709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598"/>
              </a:lnSpc>
              <a:spcAft>
                <a:spcPts val="159"/>
              </a:spcAft>
            </a:pPr>
            <a:r>
              <a:rPr lang="en-US" sz="598" kern="0" spc="-62" dirty="0">
                <a:solidFill>
                  <a:srgbClr val="FFFFFF"/>
                </a:solidFill>
                <a:latin typeface="Helvetica Now Var Regular" pitchFamily="34" charset="0"/>
                <a:ea typeface="Helvetica Now Var Regular" pitchFamily="34" charset="-122"/>
                <a:cs typeface="Helvetica Now Var Regular" pitchFamily="34" charset="-120"/>
              </a:rPr>
              <a:t>Caltech Mission</a:t>
            </a:r>
            <a:endParaRPr lang="en-US" sz="598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B05D2BA-E31D-EAC4-66E2-4A7C9DA4747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lum bright="-20000" contrast="-40000"/>
          </a:blip>
          <a:srcRect t="3959" b="11590"/>
          <a:stretch/>
        </p:blipFill>
        <p:spPr>
          <a:xfrm>
            <a:off x="2630078" y="0"/>
            <a:ext cx="6513922" cy="51305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1C081C6-1055-85B9-718C-AAFD46268B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>
                <a:solidFill>
                  <a:srgbClr val="00B0F0"/>
                </a:solidFill>
              </a:rPr>
              <a:t>Summary and Outlook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9FC8F7-2580-784D-AAF4-C527DB041C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189766"/>
            <a:ext cx="7886700" cy="3263504"/>
          </a:xfrm>
        </p:spPr>
        <p:txBody>
          <a:bodyPr lIns="91440" tIns="45720" rIns="91440" bIns="45720" anchor="t"/>
          <a:lstStyle/>
          <a:p>
            <a:pPr lvl="0">
              <a:lnSpc>
                <a:spcPct val="120000"/>
              </a:lnSpc>
            </a:pPr>
            <a:r>
              <a:rPr lang="en-US" sz="1600" dirty="0">
                <a:solidFill>
                  <a:schemeClr val="bg1"/>
                </a:solidFill>
                <a:latin typeface="Arial"/>
                <a:cs typeface="Arial"/>
              </a:rPr>
              <a:t>Caltech is leading a mission to Apophis in collaboration with JPL &amp; Rocket Lab</a:t>
            </a:r>
          </a:p>
          <a:p>
            <a:pPr lvl="0">
              <a:lnSpc>
                <a:spcPct val="120000"/>
              </a:lnSpc>
            </a:pPr>
            <a:r>
              <a:rPr lang="en-US" sz="1600" dirty="0">
                <a:solidFill>
                  <a:schemeClr val="bg1"/>
                </a:solidFill>
                <a:latin typeface="Arial"/>
                <a:cs typeface="Arial"/>
              </a:rPr>
              <a:t>Mission would monitor changes in Apophis resulting from encounter</a:t>
            </a:r>
          </a:p>
          <a:p>
            <a:pPr lvl="0">
              <a:lnSpc>
                <a:spcPct val="120000"/>
              </a:lnSpc>
            </a:pPr>
            <a:r>
              <a:rPr lang="en-US" sz="1600" dirty="0">
                <a:solidFill>
                  <a:schemeClr val="bg1"/>
                </a:solidFill>
                <a:latin typeface="Arial"/>
                <a:cs typeface="Arial"/>
              </a:rPr>
              <a:t>Bistatic radar will probe the interior structure, providing a unique data set </a:t>
            </a:r>
          </a:p>
          <a:p>
            <a:pPr>
              <a:lnSpc>
                <a:spcPct val="120000"/>
              </a:lnSpc>
            </a:pPr>
            <a:r>
              <a:rPr lang="en-US" sz="1600" dirty="0">
                <a:solidFill>
                  <a:schemeClr val="bg1"/>
                </a:solidFill>
                <a:latin typeface="Arial"/>
                <a:cs typeface="Arial"/>
              </a:rPr>
              <a:t>Caltech mission will be complementary to OSIRIS-APEX and RAMSES </a:t>
            </a:r>
          </a:p>
          <a:p>
            <a:pPr>
              <a:lnSpc>
                <a:spcPct val="120000"/>
              </a:lnSpc>
            </a:pPr>
            <a:r>
              <a:rPr lang="en-US" sz="1600" dirty="0">
                <a:solidFill>
                  <a:schemeClr val="bg1"/>
                </a:solidFill>
                <a:latin typeface="Arial"/>
                <a:cs typeface="Arial"/>
              </a:rPr>
              <a:t>Fast development schedule addresses objectives of the Decadal Survey’s recommended planetary defense characterization mission</a:t>
            </a:r>
          </a:p>
          <a:p>
            <a:pPr>
              <a:lnSpc>
                <a:spcPct val="120000"/>
              </a:lnSpc>
            </a:pPr>
            <a:r>
              <a:rPr lang="en-US" sz="1600" dirty="0">
                <a:solidFill>
                  <a:schemeClr val="bg1"/>
                </a:solidFill>
                <a:latin typeface="Arial"/>
                <a:cs typeface="Arial"/>
              </a:rPr>
              <a:t>Key contracts in place</a:t>
            </a:r>
          </a:p>
          <a:p>
            <a:pPr>
              <a:lnSpc>
                <a:spcPct val="120000"/>
              </a:lnSpc>
            </a:pPr>
            <a:r>
              <a:rPr lang="en-US" sz="1600" dirty="0">
                <a:solidFill>
                  <a:schemeClr val="bg1"/>
                </a:solidFill>
                <a:latin typeface="Arial"/>
                <a:cs typeface="Arial"/>
              </a:rPr>
              <a:t>Team is funded for Phase A and pursuing private funding for an early 2028 launch</a:t>
            </a:r>
          </a:p>
          <a:p>
            <a:pPr lvl="0">
              <a:lnSpc>
                <a:spcPct val="120000"/>
              </a:lnSpc>
            </a:pP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800" dirty="0"/>
          </a:p>
        </p:txBody>
      </p:sp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A062AB0B-AB75-B6D0-1F09-775AF052B30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01945" y="4661092"/>
            <a:ext cx="1299028" cy="555559"/>
          </a:xfrm>
          <a:prstGeom prst="rect">
            <a:avLst/>
          </a:prstGeom>
        </p:spPr>
      </p:pic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13D9F039-D5B2-A6BE-1872-800C78466465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7707265" y="4811213"/>
            <a:ext cx="586130" cy="272097"/>
          </a:xfrm>
        </p:spPr>
        <p:txBody>
          <a:bodyPr/>
          <a:lstStyle/>
          <a:p>
            <a:pPr algn="l"/>
            <a:fld id="{00000000-1234-1234-1234-123412341234}" type="slidenum">
              <a:rPr lang="en-US" sz="10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 algn="l"/>
              <a:t>9</a:t>
            </a:fld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A67384A-1046-A9BB-7FD9-F002729D0980}"/>
              </a:ext>
            </a:extLst>
          </p:cNvPr>
          <p:cNvSpPr txBox="1"/>
          <p:nvPr/>
        </p:nvSpPr>
        <p:spPr>
          <a:xfrm>
            <a:off x="714375" y="4807323"/>
            <a:ext cx="4390464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00" dirty="0">
                <a:solidFill>
                  <a:srgbClr val="A6A6A6"/>
                </a:solidFill>
                <a:cs typeface="Calibri"/>
              </a:rPr>
              <a:t>Pre-decisional Information – For Planning and Discussion Purposes On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72425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156</TotalTime>
  <Words>1753</Words>
  <Application>Microsoft Macintosh PowerPoint</Application>
  <PresentationFormat>On-screen Show (16:9)</PresentationFormat>
  <Paragraphs>202</Paragraphs>
  <Slides>11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2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38" baseType="lpstr">
      <vt:lpstr>Aptos</vt:lpstr>
      <vt:lpstr>Aptos Display</vt:lpstr>
      <vt:lpstr>Arial</vt:lpstr>
      <vt:lpstr>Arial Black</vt:lpstr>
      <vt:lpstr>Arial Narrow</vt:lpstr>
      <vt:lpstr>Calibri</vt:lpstr>
      <vt:lpstr>Courier New</vt:lpstr>
      <vt:lpstr>DM Sans</vt:lpstr>
      <vt:lpstr>Futura Medium</vt:lpstr>
      <vt:lpstr>Helvetica Neue</vt:lpstr>
      <vt:lpstr>Helvetica Neue Light</vt:lpstr>
      <vt:lpstr>Helvetica Neue Regular</vt:lpstr>
      <vt:lpstr>Helvetica Neue Thin</vt:lpstr>
      <vt:lpstr>Helvetica Neue UltraLight</vt:lpstr>
      <vt:lpstr>Helvetica Now Var Display ExtraLight</vt:lpstr>
      <vt:lpstr>Helvetica Now Var Regular</vt:lpstr>
      <vt:lpstr>Helvetica Now Var Text</vt:lpstr>
      <vt:lpstr>Helvetica Now Var Text Bold</vt:lpstr>
      <vt:lpstr>Helvetica Now Var Text ExtraBold</vt:lpstr>
      <vt:lpstr>Helvetica Now Var Text ExtraLight</vt:lpstr>
      <vt:lpstr>Helvetica Now Var Text Light</vt:lpstr>
      <vt:lpstr>HelveticaNowText ExtraBold</vt:lpstr>
      <vt:lpstr>Suisse Intl Medium</vt:lpstr>
      <vt:lpstr>Office Theme</vt:lpstr>
      <vt:lpstr>1_Office Theme</vt:lpstr>
      <vt:lpstr>2_Office Theme</vt:lpstr>
      <vt:lpstr>think-cell Slide</vt:lpstr>
      <vt:lpstr>The Caltech Mission  to Apophis</vt:lpstr>
      <vt:lpstr>Why Apophis?</vt:lpstr>
      <vt:lpstr>Caltech Mission to Apophi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ummary and Outlook </vt:lpstr>
      <vt:lpstr>PowerPoint Presentation</vt:lpstr>
      <vt:lpstr>Referen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Lan, Dennis Y.</dc:creator>
  <cp:lastModifiedBy>Carol Raymond</cp:lastModifiedBy>
  <cp:revision>99</cp:revision>
  <cp:lastPrinted>2025-04-09T02:42:35Z</cp:lastPrinted>
  <dcterms:created xsi:type="dcterms:W3CDTF">2022-03-09T23:33:42Z</dcterms:created>
  <dcterms:modified xsi:type="dcterms:W3CDTF">2025-04-25T23:34:31Z</dcterms:modified>
</cp:coreProperties>
</file>